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22"/>
  </p:notesMasterIdLst>
  <p:handoutMasterIdLst>
    <p:handoutMasterId r:id="rId23"/>
  </p:handoutMasterIdLst>
  <p:sldIdLst>
    <p:sldId id="303" r:id="rId3"/>
    <p:sldId id="370" r:id="rId4"/>
    <p:sldId id="372" r:id="rId5"/>
    <p:sldId id="375" r:id="rId6"/>
    <p:sldId id="373" r:id="rId7"/>
    <p:sldId id="376" r:id="rId8"/>
    <p:sldId id="353" r:id="rId9"/>
    <p:sldId id="355" r:id="rId10"/>
    <p:sldId id="377" r:id="rId11"/>
    <p:sldId id="364" r:id="rId12"/>
    <p:sldId id="378" r:id="rId13"/>
    <p:sldId id="379" r:id="rId14"/>
    <p:sldId id="319" r:id="rId15"/>
    <p:sldId id="363" r:id="rId16"/>
    <p:sldId id="381" r:id="rId17"/>
    <p:sldId id="382" r:id="rId18"/>
    <p:sldId id="310" r:id="rId19"/>
    <p:sldId id="326" r:id="rId20"/>
    <p:sldId id="380" r:id="rId2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AA1E"/>
    <a:srgbClr val="418A18"/>
    <a:srgbClr val="8CD153"/>
    <a:srgbClr val="A1C064"/>
    <a:srgbClr val="61CE24"/>
    <a:srgbClr val="7CDF45"/>
    <a:srgbClr val="33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18" autoAdjust="0"/>
    <p:restoredTop sz="94637" autoAdjust="0"/>
  </p:normalViewPr>
  <p:slideViewPr>
    <p:cSldViewPr>
      <p:cViewPr>
        <p:scale>
          <a:sx n="94" d="100"/>
          <a:sy n="94" d="100"/>
        </p:scale>
        <p:origin x="-900" y="-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12.05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12.05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702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image" Target="../media/image6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image" Target="../media/image5.png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3.wmf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7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image" Target="../media/image18.png"/><Relationship Id="rId3" Type="http://schemas.openxmlformats.org/officeDocument/2006/relationships/tags" Target="../tags/tag31.xml"/><Relationship Id="rId21" Type="http://schemas.openxmlformats.org/officeDocument/2006/relationships/hyperlink" Target="http://s40.radikal.ru/i088/1009/84/cf6556f3dae1.jpg" TargetMode="Externa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image" Target="../media/image17.jpeg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slideLayout" Target="../slideLayouts/slideLayout27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16.jpe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image" Target="../media/image15.jpeg"/><Relationship Id="rId28" Type="http://schemas.openxmlformats.org/officeDocument/2006/relationships/image" Target="../media/image20.jpeg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image" Target="../media/image14.jpeg"/><Relationship Id="rId27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Инструменты реализации долгосрочных инвестиционных проектов на базе регламента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«Инвестиционные проекты с гос. поддержкой и гос. участием» </a:t>
            </a:r>
            <a:b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на основе проектного финансирования в субъектах РФ</a:t>
            </a:r>
            <a:r>
              <a:rPr lang="ru-RU" sz="20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0" dirty="0">
                <a:latin typeface="Times New Roman" pitchFamily="18" charset="0"/>
                <a:cs typeface="Times New Roman" pitchFamily="18" charset="0"/>
              </a:rPr>
            </a:br>
            <a:endParaRPr lang="ru-RU" sz="2000" b="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7504" y="1916832"/>
            <a:ext cx="273630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гос. поддержкой / гос. участием»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рамках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Ежегодной общественной премии «Регионы – устойчивое развитие»</a:t>
            </a:r>
            <a:endParaRPr lang="ru-RU" sz="1600" b="1" u="sng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79512" y="4437112"/>
            <a:ext cx="259228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правление по работе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 субъектами РФ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тник Мария  </a:t>
            </a: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r>
              <a:rPr lang="ru-RU" sz="1200" b="1" dirty="0" err="1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аштакова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Мария</a:t>
            </a:r>
            <a:endParaRPr lang="en-US" sz="1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179512" y="245353"/>
            <a:ext cx="7581900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Преимущества реализации проектов </a:t>
            </a:r>
            <a:r>
              <a:rPr lang="ru-RU" sz="1800" dirty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«с нуля»</a:t>
            </a:r>
            <a:r>
              <a:rPr lang="ru-RU" sz="18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в рамках Конкурса</a:t>
            </a:r>
            <a:endParaRPr lang="ru-RU" sz="18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082991"/>
              </p:ext>
            </p:extLst>
          </p:nvPr>
        </p:nvGraphicFramePr>
        <p:xfrm>
          <a:off x="179512" y="908720"/>
          <a:ext cx="8784977" cy="5758656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3986460"/>
                <a:gridCol w="2805286"/>
                <a:gridCol w="1993231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я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 проектам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проектам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нкурса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чие стандартные условия финансово – кредитных</a:t>
                      </a:r>
                      <a:r>
                        <a:rPr lang="ru-RU" sz="16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нститутов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исходно-разрешительной</a:t>
                      </a:r>
                      <a:r>
                        <a:rPr lang="ru-RU" sz="16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кументаци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14496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 проектно-сметной документаци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ичие</a:t>
                      </a:r>
                      <a:r>
                        <a:rPr lang="ru-RU" sz="16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земельного участка для реализации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РЕБУЕТСЯ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в случае возможности размещения проекта на территории индустриального парка)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ЯЗАТЕЛЬНО</a:t>
                      </a:r>
                      <a:endParaRPr lang="ru-RU" sz="16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ебование к наличию собственных средств от Инициатора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%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%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частие проекта в региональной программе для получения государственной поддержки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А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оимость проектов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 50 млн.</a:t>
                      </a:r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уб.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рок реализации проекта</a:t>
                      </a:r>
                      <a:endParaRPr lang="ru-RU" sz="16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</a:t>
                      </a:r>
                      <a:r>
                        <a:rPr lang="ru-RU" sz="16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5 л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 8 лет</a:t>
                      </a:r>
                      <a:endParaRPr lang="ru-RU" sz="16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Заголовок 54"/>
          <p:cNvSpPr txBox="1">
            <a:spLocks/>
          </p:cNvSpPr>
          <p:nvPr/>
        </p:nvSpPr>
        <p:spPr bwMode="auto">
          <a:xfrm>
            <a:off x="161640" y="230904"/>
            <a:ext cx="449920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noProof="0" dirty="0" smtClean="0">
                <a:solidFill>
                  <a:srgbClr val="FFFFFF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9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356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51520" y="692696"/>
            <a:ext cx="1440160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ы </a:t>
            </a:r>
            <a:endParaRPr lang="en-US" sz="1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1484784"/>
            <a:ext cx="1584176" cy="52322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гиональный </a:t>
            </a:r>
          </a:p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ординатор </a:t>
            </a: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899592" y="1268760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971600" y="2204864"/>
            <a:ext cx="1224136" cy="307777"/>
          </a:xfrm>
          <a:prstGeom prst="rect">
            <a:avLst/>
          </a:prstGeom>
          <a:solidFill>
            <a:srgbClr val="50AA1E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1187624" y="1988840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187624" y="2636912"/>
            <a:ext cx="3024336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Сбор первичного пакета документов по Инициатору проекта по Схеме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Проведение первичного анализа (до 14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Сбор пакета документов по проекту по Схеме (до 45 дней)</a:t>
            </a:r>
          </a:p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Формирование полного пакета документов для направления финансовым институтам для анализа в рамках Схемы (до 14 дней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1403648" y="2492896"/>
            <a:ext cx="88157" cy="216024"/>
          </a:xfrm>
          <a:prstGeom prst="straightConnector1">
            <a:avLst/>
          </a:prstGeom>
          <a:ln>
            <a:solidFill>
              <a:srgbClr val="92D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трелка вправо 11"/>
          <p:cNvSpPr/>
          <p:nvPr/>
        </p:nvSpPr>
        <p:spPr>
          <a:xfrm>
            <a:off x="4283968" y="3861048"/>
            <a:ext cx="648072" cy="288032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04048" y="3573016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Инвесторам (членам Попечительского совета)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14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04048" y="4293096"/>
            <a:ext cx="3816424" cy="69249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внешнему эксперту по финансам (членам Попечительского совета)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-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1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04048" y="5085184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субъектам РФ (господдержка) 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en-US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ней (параллельно)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00628" y="5715016"/>
            <a:ext cx="3816424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аправление проекта на рассмотрение членам Попечительского совета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004048" y="6376972"/>
            <a:ext cx="3816424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одписание Инвестиционного соглашение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9512" y="5877272"/>
            <a:ext cx="39604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ссмотрение инвестиционного проекта до  момента итогового решения (всеми участниками) занимает 3,5 месяца</a:t>
            </a:r>
            <a:endParaRPr lang="ru-RU" sz="1600" b="1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Заголовок 18"/>
          <p:cNvSpPr txBox="1">
            <a:spLocks noGrp="1"/>
          </p:cNvSpPr>
          <p:nvPr>
            <p:ph type="title"/>
          </p:nvPr>
        </p:nvSpPr>
        <p:spPr>
          <a:xfrm>
            <a:off x="182563" y="198880"/>
            <a:ext cx="7581900" cy="34042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en-US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ru-RU" sz="16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цедура рассмотрение инвестиционных проектов в рамках  Конкурса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0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5127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8"/>
          <p:cNvSpPr txBox="1">
            <a:spLocks noGrp="1"/>
          </p:cNvSpPr>
          <p:nvPr>
            <p:ph type="title"/>
          </p:nvPr>
        </p:nvSpPr>
        <p:spPr>
          <a:xfrm>
            <a:off x="395536" y="49832"/>
            <a:ext cx="7632848" cy="64820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en-US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цедура рассмотрения региональных инвестиционных проектов по «Схеме взаимодействия при реализации инвестиционных проектов с гос. поддержкой / гос. участием», утвержденной № __ Сбербанк России для реализации в соответствии с Постановлением Правительства № 1044 от 11.10.2014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5496" y="188640"/>
            <a:ext cx="464296" cy="338554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0</a:t>
            </a: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’</a:t>
            </a: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9512" y="836712"/>
            <a:ext cx="6192688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Подписание Инвестиционного соглашение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79512" y="1268760"/>
            <a:ext cx="6192688" cy="492443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разработка Проектно – сметной документации (ПСД) под условия внешнего эксперта по финансам (1)  / получение разрешение на строительство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79512" y="1844824"/>
            <a:ext cx="6192688" cy="2923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формирование пакета документов для предоставления в МЭР РФ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79512" y="2564904"/>
            <a:ext cx="8784976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МЭР РФ / Получение протокола о отборе проекта</a:t>
            </a:r>
            <a:endParaRPr lang="ru-RU" sz="1300" b="1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9024" y="3212976"/>
            <a:ext cx="8605464" cy="2923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3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ВЭБ / Получение положительного заключения по проекту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83568" y="3861048"/>
            <a:ext cx="8280920" cy="46166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дача пакета документов по Проекту в </a:t>
            </a:r>
            <a:r>
              <a:rPr lang="ru-RU" sz="1200" b="1" u="sng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МинФин</a:t>
            </a:r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РФ / решение о предоставлении гос. гарантии по проекту (приказ) /направление решение всем участникам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483768" y="5517232"/>
            <a:ext cx="5472608" cy="2923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Заключение Кредитного договора и сопутствующих Договоров</a:t>
            </a:r>
            <a:endParaRPr lang="ru-RU" sz="1300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444208" y="1268760"/>
            <a:ext cx="2592288" cy="89255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ниторинг ведет Оргкомитет Конкурса</a:t>
            </a:r>
          </a:p>
          <a:p>
            <a:pPr algn="ctr"/>
            <a:endParaRPr lang="ru-RU" sz="13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3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Стрелка вниз 38"/>
          <p:cNvSpPr/>
          <p:nvPr/>
        </p:nvSpPr>
        <p:spPr>
          <a:xfrm>
            <a:off x="2771800" y="220486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491880" y="2920588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согласно графика заседани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Стрелка вниз 40"/>
          <p:cNvSpPr/>
          <p:nvPr/>
        </p:nvSpPr>
        <p:spPr>
          <a:xfrm>
            <a:off x="3203848" y="292494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2" name="Стрелка вниз 41"/>
          <p:cNvSpPr/>
          <p:nvPr/>
        </p:nvSpPr>
        <p:spPr>
          <a:xfrm>
            <a:off x="4283968" y="4365104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3" name="Стрелка вниз 42"/>
          <p:cNvSpPr/>
          <p:nvPr/>
        </p:nvSpPr>
        <p:spPr>
          <a:xfrm>
            <a:off x="3635896" y="3573016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923928" y="3568660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10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572000" y="4360748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5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115616" y="4664169"/>
            <a:ext cx="7848872" cy="46166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1200" b="1" u="sng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правление пакета документов в ВЭБ / подготовка проекта Договора на предоставление государственной гарантии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932040" y="5157192"/>
            <a:ext cx="252028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(5 рабочих дней)</a:t>
            </a:r>
            <a:endParaRPr lang="ru-RU" sz="13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8" name="Стрелка вниз 47"/>
          <p:cNvSpPr/>
          <p:nvPr/>
        </p:nvSpPr>
        <p:spPr>
          <a:xfrm>
            <a:off x="4716016" y="5157192"/>
            <a:ext cx="288032" cy="288032"/>
          </a:xfrm>
          <a:prstGeom prst="downArrow">
            <a:avLst/>
          </a:prstGeom>
          <a:solidFill>
            <a:srgbClr val="418A18"/>
          </a:solidFill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418A18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2043288"/>
              </p:ext>
            </p:extLst>
          </p:nvPr>
        </p:nvGraphicFramePr>
        <p:xfrm>
          <a:off x="142844" y="1621503"/>
          <a:ext cx="8715436" cy="403974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737459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нормативно – правовым документам по выделению государственной поддержки (ФЗ-209 и нормативно – правовым документам субъектов РФ)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недельно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586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lvl="0"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Экспертным советом (профильные научные институты / общероссийские общественные организации)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з / в месяц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04056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на соответствие финансовой сегментации (внешних экспертов по финансам)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64470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инвестиционными фондами (членами Попечительского совета) 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4 дней с момента получения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25028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внешним экспертом по финансам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1 день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ней с момента получения</a:t>
                      </a: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374691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смотрение проектов Попечительским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ветом Конкурса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раз / квартал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48477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ключение Инвестиционног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я, с целью реализации проекта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стоянно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51520" y="21429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9314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043450"/>
              </p:ext>
            </p:extLst>
          </p:nvPr>
        </p:nvGraphicFramePr>
        <p:xfrm>
          <a:off x="179512" y="1916832"/>
          <a:ext cx="8715436" cy="105903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  <a:endParaRPr lang="ru-RU" sz="13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662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251520" y="188640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3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07502" y="1407879"/>
          <a:ext cx="8856986" cy="26691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3058"/>
                <a:gridCol w="1142730"/>
                <a:gridCol w="1177451"/>
                <a:gridCol w="1268247"/>
                <a:gridCol w="1379366"/>
                <a:gridCol w="1306768"/>
                <a:gridCol w="1379366"/>
              </a:tblGrid>
              <a:tr h="369247">
                <a:tc gridSpan="6"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редства инициатора проекта, направленные на реализацию проекта </a:t>
                      </a:r>
                    </a:p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0%</a:t>
                      </a:r>
                      <a:r>
                        <a:rPr lang="ru-RU" sz="14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редств Инициатора проекта  (инвестиционного бюджета проекта) 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оп. </a:t>
                      </a:r>
                    </a:p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ложения</a:t>
                      </a:r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  <a:tr h="1781786"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акета документов по Проекту 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П»)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РД»)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</a:t>
                      </a: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МР 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 закупки </a:t>
                      </a:r>
                    </a:p>
                    <a:p>
                      <a:pPr algn="ctr"/>
                      <a:r>
                        <a:rPr lang="ru-RU" sz="120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лата процентов</a:t>
                      </a:r>
                      <a:r>
                        <a:rPr lang="ru-RU" sz="1200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кредиту на инвестиционной стадии </a:t>
                      </a: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плата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гос. пошлины по Экспертизе Проектной документации</a:t>
                      </a:r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  <a:tr h="369247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более 0,5%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т суммы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более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4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не более 3,5% от стоимость проекта</a:t>
                      </a:r>
                    </a:p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 более 2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8" name="Заголовок 7"/>
          <p:cNvSpPr txBox="1">
            <a:spLocks noGrp="1"/>
          </p:cNvSpPr>
          <p:nvPr>
            <p:ph type="title"/>
          </p:nvPr>
        </p:nvSpPr>
        <p:spPr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4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79513" y="2060848"/>
          <a:ext cx="8784975" cy="26552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5900"/>
                <a:gridCol w="1524781"/>
                <a:gridCol w="1124692"/>
                <a:gridCol w="1530672"/>
                <a:gridCol w="1228083"/>
                <a:gridCol w="1296310"/>
                <a:gridCol w="1364537"/>
              </a:tblGrid>
              <a:tr h="369247"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редства инициатора проекта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30%</a:t>
                      </a:r>
                      <a:r>
                        <a:rPr lang="ru-RU" sz="14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редств Инвестора (инвестиционного бюджета проекта) </a:t>
                      </a:r>
                      <a:endParaRPr lang="ru-RU" sz="14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оп. </a:t>
                      </a:r>
                    </a:p>
                    <a:p>
                      <a:pPr algn="ctr"/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вложения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  <a:tr h="1286937"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П»)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работка ПСД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(стадия «РД»)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СМР </a:t>
                      </a: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Авансирование  закупки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орудования</a:t>
                      </a:r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плата процентов</a:t>
                      </a:r>
                      <a:r>
                        <a:rPr lang="ru-RU" sz="1200" baseline="0" dirty="0" smtClean="0">
                          <a:solidFill>
                            <a:srgbClr val="00B05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кредиту на инвестиционной стадии </a:t>
                      </a:r>
                      <a:endParaRPr lang="ru-RU" sz="1200" dirty="0" smtClean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>
                        <a:solidFill>
                          <a:srgbClr val="00B05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dirty="0" smtClean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dirty="0" err="1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оп-ое</a:t>
                      </a:r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еспечение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2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</a:tr>
              <a:tr h="369247">
                <a:tc>
                  <a:txBody>
                    <a:bodyPr/>
                    <a:lstStyle/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более 3,9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боле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20% от стоимости Проекта</a:t>
                      </a:r>
                    </a:p>
                    <a:p>
                      <a:pPr algn="ctr"/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9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олее  6,1% от стоимости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не мене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15% от сумма проекта</a:t>
                      </a:r>
                      <a:endParaRPr lang="ru-RU" sz="9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3149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Заголовок 4"/>
          <p:cNvSpPr txBox="1">
            <a:spLocks noGrp="1"/>
          </p:cNvSpPr>
          <p:nvPr>
            <p:ph type="title"/>
          </p:nvPr>
        </p:nvSpPr>
        <p:spPr>
          <a:xfrm>
            <a:off x="785786" y="214290"/>
            <a:ext cx="72509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нципы формирования Попечительского Совета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107504" y="1196752"/>
          <a:ext cx="8895864" cy="4910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032"/>
                <a:gridCol w="1551049"/>
                <a:gridCol w="864096"/>
                <a:gridCol w="1152128"/>
                <a:gridCol w="1440160"/>
                <a:gridCol w="1224136"/>
                <a:gridCol w="936104"/>
                <a:gridCol w="1440159"/>
              </a:tblGrid>
              <a:tr h="501343">
                <a:tc rowSpan="2">
                  <a:txBody>
                    <a:bodyPr/>
                    <a:lstStyle/>
                    <a:p>
                      <a:pPr algn="ctr"/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Члены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печительского Совет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Требования</a:t>
                      </a:r>
                      <a:r>
                        <a:rPr lang="ru-RU" sz="15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 членам Попечительского Совета</a:t>
                      </a:r>
                      <a:endParaRPr lang="ru-RU" sz="15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endParaRPr lang="ru-RU" sz="15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52015">
                <a:tc vMerge="1">
                  <a:txBody>
                    <a:bodyPr/>
                    <a:lstStyle/>
                    <a:p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ос-ное</a:t>
                      </a: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частие в уставном капитале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раслев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  <a:endParaRPr lang="ru-RU" sz="1200" b="0" kern="12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рриториальн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нансовая </a:t>
                      </a:r>
                      <a:r>
                        <a:rPr lang="ru-RU" sz="1200" b="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егментация</a:t>
                      </a:r>
                    </a:p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-на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«Схема» / Форма </a:t>
                      </a:r>
                      <a:r>
                        <a:rPr lang="ru-RU" sz="1200" b="0" baseline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200" b="0" baseline="0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г-ия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няты / Согласованы</a:t>
                      </a:r>
                      <a:r>
                        <a:rPr lang="ru-RU" sz="1200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«Особые условия финансирования»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73491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вестиционные </a:t>
                      </a:r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нд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гласова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07766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нансово – кредитные организации 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9002">
                <a:tc gridSpan="8"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КУЩИЙ СТАТУС</a:t>
                      </a:r>
                      <a:endParaRPr lang="ru-RU" sz="1400" b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9002"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Сбербанк России»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+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  <a:endParaRPr lang="ru-RU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45041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О «ВТБ</a:t>
                      </a:r>
                      <a:r>
                        <a:rPr lang="ru-RU" sz="1200" b="0" i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Банк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тверждены</a:t>
                      </a:r>
                    </a:p>
                  </a:txBody>
                  <a:tcPr/>
                </a:tc>
              </a:tr>
              <a:tr h="305077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Газпромбанк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 / -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(стадия утверждения)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05077">
                <a:tc>
                  <a:txBody>
                    <a:bodyPr/>
                    <a:lstStyle/>
                    <a:p>
                      <a:pPr algn="ctr"/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АО «</a:t>
                      </a:r>
                      <a:r>
                        <a:rPr lang="ru-RU" sz="1200" b="0" i="1" dirty="0" err="1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СП-Банк</a:t>
                      </a:r>
                      <a:r>
                        <a:rPr lang="ru-RU" sz="1200" b="0" i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»</a:t>
                      </a:r>
                      <a:endParaRPr lang="ru-RU" sz="1200" b="0" i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+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- 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- (работа через Банки партнеры)</a:t>
                      </a:r>
                      <a:endParaRPr lang="ru-RU" sz="12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380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 txBox="1">
            <a:spLocks noGrp="1"/>
          </p:cNvSpPr>
          <p:nvPr>
            <p:ph type="title"/>
          </p:nvPr>
        </p:nvSpPr>
        <p:spPr>
          <a:xfrm>
            <a:off x="714348" y="142852"/>
            <a:ext cx="7581900" cy="46353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just"/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кущие результаты работы Конкурса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8277001"/>
              </p:ext>
            </p:extLst>
          </p:nvPr>
        </p:nvGraphicFramePr>
        <p:xfrm>
          <a:off x="323528" y="1397000"/>
          <a:ext cx="8496944" cy="302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2738"/>
                <a:gridCol w="3014206"/>
              </a:tblGrid>
              <a:tr h="370840">
                <a:tc>
                  <a:txBody>
                    <a:bodyPr/>
                    <a:lstStyle/>
                    <a:p>
                      <a:r>
                        <a:rPr lang="ru-RU" b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проектов,</a:t>
                      </a:r>
                      <a:r>
                        <a:rPr lang="ru-RU" b="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находящихся на стадии реализации (по подписанным инвестиционным соглашениям)</a:t>
                      </a:r>
                    </a:p>
                    <a:p>
                      <a:pPr algn="r"/>
                      <a:r>
                        <a:rPr lang="ru-RU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сумму</a:t>
                      </a:r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7</a:t>
                      </a:r>
                    </a:p>
                    <a:p>
                      <a:pPr algn="ctr"/>
                      <a:endParaRPr lang="ru-RU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3, 240</a:t>
                      </a:r>
                      <a:r>
                        <a:rPr lang="ru-RU" sz="1800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лрд. руб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baseline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Количество Инвестиционной</a:t>
                      </a:r>
                      <a:r>
                        <a:rPr lang="ru-RU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оглашений, находящихся на стадии согласования </a:t>
                      </a:r>
                    </a:p>
                    <a:p>
                      <a:pPr algn="r"/>
                      <a:r>
                        <a:rPr lang="ru-RU" b="1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сумму</a:t>
                      </a:r>
                      <a:endParaRPr lang="ru-RU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  <a:p>
                      <a:pPr algn="ctr"/>
                      <a:endParaRPr lang="ru-RU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5,507</a:t>
                      </a:r>
                      <a:r>
                        <a:rPr lang="ru-RU" sz="1800" b="1" kern="12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лрд. руб.</a:t>
                      </a:r>
                      <a:endParaRPr lang="ru-RU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7545" y="4653136"/>
            <a:ext cx="80648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база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дустриальных парков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убъектов РФ</a:t>
            </a:r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новляется ежегодно / (обновляется 2 раза в</a:t>
            </a:r>
            <a:r>
              <a:rPr lang="en-US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д)</a:t>
            </a:r>
          </a:p>
          <a:p>
            <a:pPr algn="just"/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а </a:t>
            </a:r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база нормативно – правовых актов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убъектов РФ </a:t>
            </a:r>
          </a:p>
          <a:p>
            <a:pPr algn="just"/>
            <a:r>
              <a:rPr lang="ru-RU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выделении гос. поддержки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обновляется ежегодно / (2 раза в год)</a:t>
            </a:r>
            <a:endParaRPr lang="ru-RU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4282" y="142852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8640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5536" y="764704"/>
            <a:ext cx="7992888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Спасибо за внимание</a:t>
            </a:r>
            <a:endParaRPr lang="ru-RU" sz="3200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u="sng" dirty="0" err="1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аштакова</a:t>
            </a:r>
            <a:r>
              <a:rPr lang="ru-RU" b="1" u="sng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Мария Юрьевна</a:t>
            </a:r>
            <a:endParaRPr lang="en-US" b="1" u="sng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уководитель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тдела анализа инвестиционных 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проектов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рганизационный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комитет Конкурса 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"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Ежегодная общественная премия «Регионы - устойчивое развитие»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аб. (495) 236-7-36</a:t>
            </a: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 моб. (926) 136-11-12</a:t>
            </a:r>
          </a:p>
          <a:p>
            <a:r>
              <a:rPr lang="en-US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ashtakova@infra-konkurs.ru</a:t>
            </a:r>
            <a:r>
              <a:rPr lang="en-US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en-US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www.infra-konkurs.ru</a:t>
            </a: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b="1" u="sng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Решетник Мария Сергеевна</a:t>
            </a:r>
          </a:p>
          <a:p>
            <a:endParaRPr lang="en-US" u="sng" dirty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ОАО «Сбербанк России»</a:t>
            </a: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Управление по работе с субъектами РФ</a:t>
            </a:r>
          </a:p>
          <a:p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: (495) 957-55-08;  </a:t>
            </a:r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об</a:t>
            </a:r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.: (985) 992-68-38</a:t>
            </a:r>
          </a:p>
          <a:p>
            <a:r>
              <a:rPr lang="en-US" u="sng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MSKirpicheva@sberbank.ru</a:t>
            </a:r>
            <a:endParaRPr lang="ru-RU" u="sng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68"/>
          <p:cNvGrpSpPr/>
          <p:nvPr/>
        </p:nvGrpSpPr>
        <p:grpSpPr>
          <a:xfrm>
            <a:off x="107504" y="908720"/>
            <a:ext cx="8540262" cy="5445125"/>
            <a:chOff x="381000" y="1039813"/>
            <a:chExt cx="9251950" cy="5445125"/>
          </a:xfrm>
        </p:grpSpPr>
        <p:sp>
          <p:nvSpPr>
            <p:cNvPr id="4" name="Rectangle 38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908300" y="6302375"/>
              <a:ext cx="1203325" cy="182563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5" name="Rectangle 39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311650" y="6302375"/>
              <a:ext cx="5321300" cy="182563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6" name="Rectangle 3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908300" y="518636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7" name="Rectangle 3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311650" y="518636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8" name="Rectangle 3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908300" y="410686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9" name="Rectangle 3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311650" y="410686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0" name="Rectangle 31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908300" y="2998788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1" name="Rectangle 3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311650" y="2998788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2" name="Rectangle 30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908300" y="1903413"/>
              <a:ext cx="1203325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3" name="Rectangle 2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311650" y="1903413"/>
              <a:ext cx="5321300" cy="182562"/>
            </a:xfrm>
            <a:prstGeom prst="rect">
              <a:avLst/>
            </a:prstGeom>
            <a:gradFill rotWithShape="1">
              <a:gsLst>
                <a:gs pos="0">
                  <a:srgbClr val="B2B2B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4" name="Прямоугольник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311650" y="1052513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у Вас новый проект и Вы не понимаете начинать ли Вам тратить деньги на разработку ПСД по проекту без наличия решения финансовых институтов о финансировании  Вашего проекта</a:t>
              </a:r>
            </a:p>
          </p:txBody>
        </p:sp>
        <p:sp>
          <p:nvSpPr>
            <p:cNvPr id="15" name="Прямоугольник 1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311650" y="2154238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 smtClean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Вы </a:t>
              </a:r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не владеете всеми знаниями по требованиям всех участников инвестиционной деятельности для реализации инвестиционного проекта, чтобы им соответствовать </a:t>
              </a:r>
            </a:p>
          </p:txBody>
        </p:sp>
        <p:sp>
          <p:nvSpPr>
            <p:cNvPr id="16" name="Прямоугольник 1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311650" y="3257550"/>
              <a:ext cx="5321300" cy="896938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у Вас нет достаточно собственных средств для реализации инвестиционного проекта и Вам нужен со - инвестор (не доли собственных  средств в размере 30% от суммы проекта)</a:t>
              </a:r>
            </a:p>
          </p:txBody>
        </p:sp>
        <p:sp>
          <p:nvSpPr>
            <p:cNvPr id="17" name="Прямоугольник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311650" y="4360863"/>
              <a:ext cx="5321300" cy="896937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У Вас нет </a:t>
              </a:r>
              <a:r>
                <a:rPr lang="ru-RU" sz="1200" dirty="0" smtClean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опыта </a:t>
              </a:r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координации всех участников инвестиционной деятельности для реализации инвестиционного проекта (финансовыми институтами (Банками), инвестиционными фондами и органами исполнительной власти)</a:t>
              </a:r>
            </a:p>
          </p:txBody>
        </p:sp>
        <p:sp>
          <p:nvSpPr>
            <p:cNvPr id="18" name="Прямоугольник 1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908300" y="1052513"/>
              <a:ext cx="1203325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Решение банка на ранней стадии проекта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9" name="Прямоугольник 1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908300" y="2154238"/>
              <a:ext cx="1264614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Методические материалы 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Банк и РУР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0" name="Прямоугольник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922588" y="4360863"/>
              <a:ext cx="1280838" cy="896937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Дорожная карта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РУР –</a:t>
              </a:r>
            </a:p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«СБЕРБАНК»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1" name="Прямоугольник 1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922588" y="3257550"/>
              <a:ext cx="1328336" cy="896938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rPr>
                <a:t>Согласованный алгоритм работы с со инвестором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2" name="Прямоугольник 1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908300" y="5464175"/>
              <a:ext cx="1295125" cy="896938"/>
            </a:xfrm>
            <a:prstGeom prst="rect">
              <a:avLst/>
            </a:prstGeom>
            <a:gradFill rotWithShape="1">
              <a:gsLst>
                <a:gs pos="0">
                  <a:srgbClr val="27781D"/>
                </a:gs>
                <a:gs pos="50000">
                  <a:srgbClr val="194C12"/>
                </a:gs>
                <a:gs pos="100000">
                  <a:srgbClr val="27781D"/>
                </a:gs>
              </a:gsLst>
              <a:lin ang="2700000" scaled="1"/>
            </a:gra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marL="0" marR="0" lvl="0" indent="0" defTabSz="91440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Справочная информация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3" name="Прямоугольник 1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4311650" y="5464175"/>
              <a:ext cx="5321300" cy="896938"/>
            </a:xfrm>
            <a:prstGeom prst="rect">
              <a:avLst/>
            </a:prstGeom>
            <a:solidFill>
              <a:srgbClr val="DBFFB4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72000" tIns="36000" rIns="36000" bIns="36000" anchor="ctr"/>
            <a:lstStyle/>
            <a:p>
              <a:pPr algn="just"/>
              <a:r>
                <a:rPr lang="ru-RU" sz="1200" dirty="0">
                  <a:solidFill>
                    <a:srgbClr val="418A18"/>
                  </a:solidFill>
                  <a:latin typeface="Times New Roman" pitchFamily="18" charset="0"/>
                  <a:cs typeface="Times New Roman" pitchFamily="18" charset="0"/>
                </a:rPr>
                <a:t>Если Вы хотите узнать больше о формах государственной поддержки и использовать эти знания для получения финансирования в рамках «Особых условий финансирования инвестиционных проектов с гос. поддержкой / гос. участием» для реализации инвестиционного проекта</a:t>
              </a:r>
            </a:p>
          </p:txBody>
        </p:sp>
        <p:sp>
          <p:nvSpPr>
            <p:cNvPr id="24" name="Прямоугольник 13"/>
            <p:cNvSpPr/>
            <p:nvPr>
              <p:custDataLst>
                <p:tags r:id="rId21"/>
              </p:custDataLst>
            </p:nvPr>
          </p:nvSpPr>
          <p:spPr>
            <a:xfrm>
              <a:off x="512763" y="4914900"/>
              <a:ext cx="2035175" cy="89693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Координация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Техническое и методическое сопровождение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</p:txBody>
        </p:sp>
        <p:sp>
          <p:nvSpPr>
            <p:cNvPr id="25" name="Прямоугольник 13"/>
            <p:cNvSpPr/>
            <p:nvPr>
              <p:custDataLst>
                <p:tags r:id="rId22"/>
              </p:custDataLst>
            </p:nvPr>
          </p:nvSpPr>
          <p:spPr>
            <a:xfrm>
              <a:off x="506506" y="1488530"/>
              <a:ext cx="2174875" cy="89693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000" tIns="36000" rIns="36000" bIns="36000" anchor="ctr"/>
            <a:lstStyle/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Сеть</a:t>
              </a: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Экспертиза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Финансовые продукты</a:t>
              </a: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  <a:p>
              <a:pPr marL="180975" marR="0" lvl="0" indent="-180975" algn="l" defTabSz="91440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>
                  <a:srgbClr val="000000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ru-RU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itchFamily="18" charset="0"/>
                  <a:ea typeface="ＭＳ Ｐゴシック" charset="-128"/>
                  <a:cs typeface="Times New Roman" pitchFamily="18" charset="0"/>
                </a:rPr>
                <a:t>Финансирование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ＭＳ Ｐゴシック" charset="-128"/>
                <a:cs typeface="Times New Roman" pitchFamily="18" charset="0"/>
              </a:endParaRPr>
            </a:p>
          </p:txBody>
        </p:sp>
        <p:sp>
          <p:nvSpPr>
            <p:cNvPr id="26" name="Freeform 25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269082" y="1153319"/>
              <a:ext cx="2563812" cy="2336800"/>
            </a:xfrm>
            <a:custGeom>
              <a:avLst/>
              <a:gdLst>
                <a:gd name="T0" fmla="*/ 2147483647 w 3956"/>
                <a:gd name="T1" fmla="*/ 2147483647 h 3265"/>
                <a:gd name="T2" fmla="*/ 2147483647 w 3956"/>
                <a:gd name="T3" fmla="*/ 2147483647 h 3265"/>
                <a:gd name="T4" fmla="*/ 2147483647 w 3956"/>
                <a:gd name="T5" fmla="*/ 2147483647 h 3265"/>
                <a:gd name="T6" fmla="*/ 2147483647 w 3956"/>
                <a:gd name="T7" fmla="*/ 2147483647 h 3265"/>
                <a:gd name="T8" fmla="*/ 2147483647 w 3956"/>
                <a:gd name="T9" fmla="*/ 0 h 3265"/>
                <a:gd name="T10" fmla="*/ 0 w 3956"/>
                <a:gd name="T11" fmla="*/ 2147483647 h 3265"/>
                <a:gd name="T12" fmla="*/ 2147483647 w 3956"/>
                <a:gd name="T13" fmla="*/ 2147483647 h 3265"/>
                <a:gd name="T14" fmla="*/ 2147483647 w 3956"/>
                <a:gd name="T15" fmla="*/ 2147483647 h 3265"/>
                <a:gd name="T16" fmla="*/ 2147483647 w 3956"/>
                <a:gd name="T17" fmla="*/ 2147483647 h 3265"/>
                <a:gd name="T18" fmla="*/ 2147483647 w 3956"/>
                <a:gd name="T19" fmla="*/ 2147483647 h 3265"/>
                <a:gd name="T20" fmla="*/ 2147483647 w 3956"/>
                <a:gd name="T21" fmla="*/ 2147483647 h 3265"/>
                <a:gd name="T22" fmla="*/ 2147483647 w 3956"/>
                <a:gd name="T23" fmla="*/ 2147483647 h 3265"/>
                <a:gd name="T24" fmla="*/ 2147483647 w 3956"/>
                <a:gd name="T25" fmla="*/ 2147483647 h 3265"/>
                <a:gd name="T26" fmla="*/ 2147483647 w 3956"/>
                <a:gd name="T27" fmla="*/ 2147483647 h 3265"/>
                <a:gd name="T28" fmla="*/ 2147483647 w 3956"/>
                <a:gd name="T29" fmla="*/ 2147483647 h 3265"/>
                <a:gd name="T30" fmla="*/ 2147483647 w 3956"/>
                <a:gd name="T31" fmla="*/ 2147483647 h 3265"/>
                <a:gd name="T32" fmla="*/ 2147483647 w 3956"/>
                <a:gd name="T33" fmla="*/ 2147483647 h 3265"/>
                <a:gd name="T34" fmla="*/ 2147483647 w 3956"/>
                <a:gd name="T35" fmla="*/ 2147483647 h 3265"/>
                <a:gd name="T36" fmla="*/ 2147483647 w 3956"/>
                <a:gd name="T37" fmla="*/ 2147483647 h 32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956"/>
                <a:gd name="T58" fmla="*/ 0 h 3265"/>
                <a:gd name="T59" fmla="*/ 3956 w 3956"/>
                <a:gd name="T60" fmla="*/ 3265 h 326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956" h="3265">
                  <a:moveTo>
                    <a:pt x="3956" y="864"/>
                  </a:moveTo>
                  <a:lnTo>
                    <a:pt x="3582" y="381"/>
                  </a:lnTo>
                  <a:lnTo>
                    <a:pt x="3582" y="505"/>
                  </a:lnTo>
                  <a:lnTo>
                    <a:pt x="3372" y="505"/>
                  </a:lnTo>
                  <a:lnTo>
                    <a:pt x="3481" y="0"/>
                  </a:lnTo>
                  <a:lnTo>
                    <a:pt x="0" y="1"/>
                  </a:lnTo>
                  <a:lnTo>
                    <a:pt x="8" y="3265"/>
                  </a:lnTo>
                  <a:lnTo>
                    <a:pt x="2783" y="3264"/>
                  </a:lnTo>
                  <a:lnTo>
                    <a:pt x="2889" y="2760"/>
                  </a:lnTo>
                  <a:lnTo>
                    <a:pt x="2794" y="2760"/>
                  </a:lnTo>
                  <a:lnTo>
                    <a:pt x="2794" y="2884"/>
                  </a:lnTo>
                  <a:lnTo>
                    <a:pt x="2420" y="2401"/>
                  </a:lnTo>
                  <a:lnTo>
                    <a:pt x="2794" y="1918"/>
                  </a:lnTo>
                  <a:lnTo>
                    <a:pt x="2794" y="2042"/>
                  </a:lnTo>
                  <a:lnTo>
                    <a:pt x="3044" y="2042"/>
                  </a:lnTo>
                  <a:lnTo>
                    <a:pt x="3220" y="1224"/>
                  </a:lnTo>
                  <a:lnTo>
                    <a:pt x="3582" y="1224"/>
                  </a:lnTo>
                  <a:lnTo>
                    <a:pt x="3582" y="1344"/>
                  </a:lnTo>
                  <a:lnTo>
                    <a:pt x="3956" y="864"/>
                  </a:lnTo>
                  <a:close/>
                </a:path>
              </a:pathLst>
            </a:custGeom>
            <a:noFill/>
            <a:ln w="28575" cap="flat" cmpd="sng">
              <a:solidFill>
                <a:srgbClr val="00703C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 rot="5400000">
              <a:off x="229394" y="3915569"/>
              <a:ext cx="2641600" cy="2338388"/>
            </a:xfrm>
            <a:custGeom>
              <a:avLst/>
              <a:gdLst>
                <a:gd name="T0" fmla="*/ 2147483647 w 2975"/>
                <a:gd name="T1" fmla="*/ 2147483647 h 3268"/>
                <a:gd name="T2" fmla="*/ 2147483647 w 2975"/>
                <a:gd name="T3" fmla="*/ 2147483647 h 3268"/>
                <a:gd name="T4" fmla="*/ 2147483647 w 2975"/>
                <a:gd name="T5" fmla="*/ 2147483647 h 3268"/>
                <a:gd name="T6" fmla="*/ 2147483647 w 2975"/>
                <a:gd name="T7" fmla="*/ 2147483647 h 3268"/>
                <a:gd name="T8" fmla="*/ 2147483647 w 2975"/>
                <a:gd name="T9" fmla="*/ 2147483647 h 3268"/>
                <a:gd name="T10" fmla="*/ 2147483647 w 2975"/>
                <a:gd name="T11" fmla="*/ 2147483647 h 3268"/>
                <a:gd name="T12" fmla="*/ 2147483647 w 2975"/>
                <a:gd name="T13" fmla="*/ 2147483647 h 3268"/>
                <a:gd name="T14" fmla="*/ 2147483647 w 2975"/>
                <a:gd name="T15" fmla="*/ 2147483647 h 3268"/>
                <a:gd name="T16" fmla="*/ 2147483647 w 2975"/>
                <a:gd name="T17" fmla="*/ 2147483647 h 3268"/>
                <a:gd name="T18" fmla="*/ 2147483647 w 2975"/>
                <a:gd name="T19" fmla="*/ 2147483647 h 3268"/>
                <a:gd name="T20" fmla="*/ 2147483647 w 2975"/>
                <a:gd name="T21" fmla="*/ 2147483647 h 3268"/>
                <a:gd name="T22" fmla="*/ 0 w 2975"/>
                <a:gd name="T23" fmla="*/ 2147483647 h 3268"/>
                <a:gd name="T24" fmla="*/ 2147483647 w 2975"/>
                <a:gd name="T25" fmla="*/ 2147483647 h 3268"/>
                <a:gd name="T26" fmla="*/ 2147483647 w 2975"/>
                <a:gd name="T27" fmla="*/ 2147483647 h 3268"/>
                <a:gd name="T28" fmla="*/ 2147483647 w 2975"/>
                <a:gd name="T29" fmla="*/ 2147483647 h 3268"/>
                <a:gd name="T30" fmla="*/ 2147483647 w 2975"/>
                <a:gd name="T31" fmla="*/ 2147483647 h 3268"/>
                <a:gd name="T32" fmla="*/ 2147483647 w 2975"/>
                <a:gd name="T33" fmla="*/ 2147483647 h 3268"/>
                <a:gd name="T34" fmla="*/ 2147483647 w 2975"/>
                <a:gd name="T35" fmla="*/ 0 h 3268"/>
                <a:gd name="T36" fmla="*/ 2147483647 w 2975"/>
                <a:gd name="T37" fmla="*/ 2147483647 h 326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975"/>
                <a:gd name="T58" fmla="*/ 0 h 3268"/>
                <a:gd name="T59" fmla="*/ 2975 w 2975"/>
                <a:gd name="T60" fmla="*/ 3268 h 326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975" h="3268">
                  <a:moveTo>
                    <a:pt x="1173" y="3"/>
                  </a:moveTo>
                  <a:lnTo>
                    <a:pt x="1064" y="508"/>
                  </a:lnTo>
                  <a:lnTo>
                    <a:pt x="1162" y="508"/>
                  </a:lnTo>
                  <a:lnTo>
                    <a:pt x="1162" y="384"/>
                  </a:lnTo>
                  <a:lnTo>
                    <a:pt x="1536" y="867"/>
                  </a:lnTo>
                  <a:lnTo>
                    <a:pt x="1162" y="1347"/>
                  </a:lnTo>
                  <a:lnTo>
                    <a:pt x="1162" y="1227"/>
                  </a:lnTo>
                  <a:lnTo>
                    <a:pt x="908" y="1227"/>
                  </a:lnTo>
                  <a:lnTo>
                    <a:pt x="733" y="2045"/>
                  </a:lnTo>
                  <a:lnTo>
                    <a:pt x="374" y="2045"/>
                  </a:lnTo>
                  <a:lnTo>
                    <a:pt x="374" y="1921"/>
                  </a:lnTo>
                  <a:lnTo>
                    <a:pt x="0" y="2404"/>
                  </a:lnTo>
                  <a:lnTo>
                    <a:pt x="374" y="2887"/>
                  </a:lnTo>
                  <a:lnTo>
                    <a:pt x="374" y="2763"/>
                  </a:lnTo>
                  <a:lnTo>
                    <a:pt x="581" y="2763"/>
                  </a:lnTo>
                  <a:lnTo>
                    <a:pt x="472" y="3267"/>
                  </a:lnTo>
                  <a:lnTo>
                    <a:pt x="2971" y="3268"/>
                  </a:lnTo>
                  <a:lnTo>
                    <a:pt x="2975" y="0"/>
                  </a:lnTo>
                  <a:lnTo>
                    <a:pt x="1173" y="3"/>
                  </a:lnTo>
                  <a:close/>
                </a:path>
              </a:pathLst>
            </a:custGeom>
            <a:noFill/>
            <a:ln w="28575" cap="flat" cmpd="sng">
              <a:solidFill>
                <a:srgbClr val="00703C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endParaRPr>
            </a:p>
          </p:txBody>
        </p:sp>
        <p:grpSp>
          <p:nvGrpSpPr>
            <p:cNvPr id="28" name="Group 41"/>
            <p:cNvGrpSpPr>
              <a:grpSpLocks/>
            </p:cNvGrpSpPr>
            <p:nvPr/>
          </p:nvGrpSpPr>
          <p:grpSpPr bwMode="auto">
            <a:xfrm>
              <a:off x="492125" y="3179763"/>
              <a:ext cx="2133600" cy="1131887"/>
              <a:chOff x="310" y="2003"/>
              <a:chExt cx="1344" cy="713"/>
            </a:xfrm>
          </p:grpSpPr>
          <p:sp>
            <p:nvSpPr>
              <p:cNvPr id="30" name="Oval 40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342" y="2035"/>
                <a:ext cx="1312" cy="681"/>
              </a:xfrm>
              <a:prstGeom prst="ellipse">
                <a:avLst/>
              </a:prstGeom>
              <a:solidFill>
                <a:srgbClr val="B2B2B2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31" name="Oval 29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10" y="2003"/>
                <a:ext cx="1312" cy="681"/>
              </a:xfrm>
              <a:prstGeom prst="ellipse">
                <a:avLst/>
              </a:prstGeom>
              <a:solidFill>
                <a:srgbClr val="00703C">
                  <a:alpha val="79999"/>
                </a:srgbClr>
              </a:solidFill>
              <a:ln w="349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 lIns="0" tIns="36000" rIns="0" bIns="3600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Программные</a:t>
                </a:r>
                <a:r>
                  <a:rPr kumimoji="0" lang="ru-RU" sz="12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imes New Roman" pitchFamily="18" charset="0"/>
                    <a:cs typeface="Times New Roman" pitchFamily="18" charset="0"/>
                  </a:rPr>
                  <a:t> решения </a:t>
                </a:r>
                <a:endPara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pic>
          <p:nvPicPr>
            <p:cNvPr id="29" name="Рисунок 33" descr="sbpict_sblogo_ru_horizontal_main_20pct.png"/>
            <p:cNvPicPr>
              <a:picLocks noChangeAspect="1"/>
            </p:cNvPicPr>
            <p:nvPr/>
          </p:nvPicPr>
          <p:blipFill>
            <a:blip r:embed="rId28" cstate="print"/>
            <a:srcRect/>
            <a:stretch>
              <a:fillRect/>
            </a:stretch>
          </p:blipFill>
          <p:spPr bwMode="auto">
            <a:xfrm>
              <a:off x="428625" y="1150938"/>
              <a:ext cx="1947863" cy="425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3" name="Rectangle 2"/>
          <p:cNvSpPr txBox="1">
            <a:spLocks noChangeArrowheads="1"/>
          </p:cNvSpPr>
          <p:nvPr/>
        </p:nvSpPr>
        <p:spPr>
          <a:xfrm>
            <a:off x="164982" y="5517232"/>
            <a:ext cx="2606818" cy="648072"/>
          </a:xfrm>
          <a:prstGeom prst="rect">
            <a:avLst/>
          </a:prstGeom>
          <a:ln algn="ctr"/>
        </p:spPr>
        <p:txBody>
          <a:bodyPr vert="horz" lIns="0" tIns="45713" rIns="0" bIns="45713" rtlCol="0" anchor="b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РГКОМИТЕТ</a:t>
            </a:r>
          </a:p>
          <a:p>
            <a:pPr>
              <a:defRPr/>
            </a:pP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КОНКУРСА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35" name="Группа 15"/>
          <p:cNvGrpSpPr>
            <a:grpSpLocks/>
          </p:cNvGrpSpPr>
          <p:nvPr/>
        </p:nvGrpSpPr>
        <p:grpSpPr bwMode="auto">
          <a:xfrm>
            <a:off x="179512" y="5661248"/>
            <a:ext cx="535930" cy="575444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36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37" name="Рисунок 34" descr="РФ.png"/>
            <p:cNvPicPr>
              <a:picLocks noChangeAspect="1"/>
            </p:cNvPicPr>
            <p:nvPr/>
          </p:nvPicPr>
          <p:blipFill>
            <a:blip r:embed="rId29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8" name="Заголовок 1"/>
          <p:cNvSpPr txBox="1">
            <a:spLocks/>
          </p:cNvSpPr>
          <p:nvPr/>
        </p:nvSpPr>
        <p:spPr bwMode="auto">
          <a:xfrm>
            <a:off x="251520" y="5877272"/>
            <a:ext cx="360040" cy="144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РУР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с двумя скругленными соседними углами 2"/>
          <p:cNvSpPr/>
          <p:nvPr/>
        </p:nvSpPr>
        <p:spPr>
          <a:xfrm>
            <a:off x="467544" y="1268760"/>
            <a:ext cx="8247860" cy="1014952"/>
          </a:xfrm>
          <a:prstGeom prst="round2SameRect">
            <a:avLst>
              <a:gd name="adj1" fmla="val 9334"/>
              <a:gd name="adj2" fmla="val 0"/>
            </a:avLst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ОГРАММА 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ОМПЛЕКСНОГО СОПРОВОЖДЕНИЯ И ПОДГОТОВКИ  ПРОЕКТОВ К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ФИНАНСИРОВАНИЮ 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Номер слайда 3"/>
          <p:cNvSpPr txBox="1">
            <a:spLocks/>
          </p:cNvSpPr>
          <p:nvPr/>
        </p:nvSpPr>
        <p:spPr>
          <a:xfrm>
            <a:off x="8515350" y="6424613"/>
            <a:ext cx="520700" cy="265112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6D5861D-0E85-4B89-8890-A30BC760EB70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07505" y="2564904"/>
            <a:ext cx="2448272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ЕДИНЫ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ТАНДАР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16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бору заявок инвестиционных проектов </a:t>
            </a:r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7504" y="4797152"/>
            <a:ext cx="2448272" cy="198884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ПОЗВОЛЯЕТ ОДНОВРЕМЕННО  ПОЛУЧИТЬ: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лговое финансирование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нвестиционное финансирование</a:t>
            </a:r>
          </a:p>
          <a:p>
            <a:pPr indent="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сударственную  поддержку (региональная/федеральная)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15"/>
          <p:cNvGrpSpPr>
            <a:grpSpLocks/>
          </p:cNvGrpSpPr>
          <p:nvPr/>
        </p:nvGrpSpPr>
        <p:grpSpPr bwMode="auto">
          <a:xfrm>
            <a:off x="107504" y="764704"/>
            <a:ext cx="1150937" cy="1152525"/>
            <a:chOff x="3992566" y="3067052"/>
            <a:chExt cx="1150938" cy="1152525"/>
          </a:xfrm>
        </p:grpSpPr>
        <p:sp>
          <p:nvSpPr>
            <p:cNvPr id="8" name="Oval 46"/>
            <p:cNvSpPr>
              <a:spLocks noChangeAspect="1" noChangeArrowheads="1"/>
            </p:cNvSpPr>
            <p:nvPr/>
          </p:nvSpPr>
          <p:spPr bwMode="auto">
            <a:xfrm>
              <a:off x="3992566" y="3067052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9" name="Рисунок 32" descr="logotip_Sberbanka.pn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135441" y="3211514"/>
              <a:ext cx="877888" cy="854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15"/>
          <p:cNvGrpSpPr>
            <a:grpSpLocks/>
          </p:cNvGrpSpPr>
          <p:nvPr/>
        </p:nvGrpSpPr>
        <p:grpSpPr bwMode="auto">
          <a:xfrm>
            <a:off x="8024365" y="908720"/>
            <a:ext cx="1116013" cy="1079500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11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pic>
          <p:nvPicPr>
            <p:cNvPr id="12" name="Рисунок 34" descr="РФ.png"/>
            <p:cNvPicPr>
              <a:picLocks noChangeAspect="1"/>
            </p:cNvPicPr>
            <p:nvPr/>
          </p:nvPicPr>
          <p:blipFill>
            <a:blip r:embed="rId3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8172127" y="1052736"/>
            <a:ext cx="93610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charset="0"/>
                <a:ea typeface="+mj-ea"/>
                <a:cs typeface="Arial" charset="0"/>
              </a:rPr>
              <a:t>РУР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699792" y="2564904"/>
            <a:ext cx="3528392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НИВЕРСАЛЬНЫЙ АЛГОРИТМ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тбора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рассмотрения, структурирования и реализации инвестиционных проектов</a:t>
            </a:r>
            <a:r>
              <a:rPr lang="ru-RU" sz="1600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endParaRPr lang="ru-RU" sz="1600" dirty="0">
              <a:solidFill>
                <a:schemeClr val="tx1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300192" y="2564904"/>
            <a:ext cx="2736304" cy="208823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ПЕЦИАЛЬНЫ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ф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ансовый продукт</a:t>
            </a:r>
            <a:endParaRPr lang="ru-RU" sz="1600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«Особые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условия финансирования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вестиционных </a:t>
            </a:r>
            <a:r>
              <a:rPr lang="ru-RU" sz="16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ектов с государственной </a:t>
            </a: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держкой»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0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699792" y="4725144"/>
            <a:ext cx="3528392" cy="2016224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СТАНДАРТИЗИРУЕТ ПРОЕКТ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 ПОД ТРЕБОВАНИЯ: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Финансово-кредитных организаций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нвестиционных фондов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убъектов РФ (региональных программ) Федеральных целевых и государственных программ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траховых компаний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300192" y="4725144"/>
            <a:ext cx="2736304" cy="1980568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ДАЕТ ВОЗМОЖНОСТЬ: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лучить финансирование по  более низкой  ставке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величить сроки кредитования</a:t>
            </a:r>
          </a:p>
          <a:p>
            <a:pPr indent="17462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простить сбор документов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Oval 42"/>
          <p:cNvSpPr>
            <a:spLocks noChangeAspect="1" noChangeArrowheads="1"/>
          </p:cNvSpPr>
          <p:nvPr/>
        </p:nvSpPr>
        <p:spPr bwMode="auto">
          <a:xfrm>
            <a:off x="6372200" y="2780928"/>
            <a:ext cx="1150938" cy="1152526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Line 64"/>
          <p:cNvSpPr>
            <a:spLocks noChangeShapeType="1"/>
          </p:cNvSpPr>
          <p:nvPr/>
        </p:nvSpPr>
        <p:spPr bwMode="auto">
          <a:xfrm>
            <a:off x="4499992" y="1772816"/>
            <a:ext cx="0" cy="108012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Line 64"/>
          <p:cNvSpPr>
            <a:spLocks noChangeShapeType="1"/>
          </p:cNvSpPr>
          <p:nvPr/>
        </p:nvSpPr>
        <p:spPr bwMode="auto">
          <a:xfrm flipH="1">
            <a:off x="3059832" y="1988840"/>
            <a:ext cx="3168351" cy="316835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Line 65"/>
          <p:cNvSpPr>
            <a:spLocks noChangeShapeType="1"/>
          </p:cNvSpPr>
          <p:nvPr/>
        </p:nvSpPr>
        <p:spPr bwMode="auto">
          <a:xfrm flipH="1" flipV="1">
            <a:off x="3059832" y="1916832"/>
            <a:ext cx="2808311" cy="309634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Line 66"/>
          <p:cNvSpPr>
            <a:spLocks noChangeShapeType="1"/>
          </p:cNvSpPr>
          <p:nvPr/>
        </p:nvSpPr>
        <p:spPr bwMode="auto">
          <a:xfrm flipH="1" flipV="1">
            <a:off x="2700338" y="3424238"/>
            <a:ext cx="36004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Прямоугольник 52"/>
          <p:cNvSpPr>
            <a:spLocks noChangeArrowheads="1"/>
          </p:cNvSpPr>
          <p:nvPr/>
        </p:nvSpPr>
        <p:spPr bwMode="auto">
          <a:xfrm>
            <a:off x="3851920" y="3861048"/>
            <a:ext cx="14351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957263">
              <a:lnSpc>
                <a:spcPct val="95000"/>
              </a:lnSpc>
              <a:spcAft>
                <a:spcPts val="600"/>
              </a:spcAft>
            </a:pPr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ординатор</a:t>
            </a:r>
          </a:p>
        </p:txBody>
      </p:sp>
      <p:sp>
        <p:nvSpPr>
          <p:cNvPr id="29" name="Oval 42"/>
          <p:cNvSpPr>
            <a:spLocks noChangeAspect="1" noChangeArrowheads="1"/>
          </p:cNvSpPr>
          <p:nvPr/>
        </p:nvSpPr>
        <p:spPr bwMode="auto">
          <a:xfrm>
            <a:off x="1763688" y="2996952"/>
            <a:ext cx="1150938" cy="1152526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Прямоугольник 22"/>
          <p:cNvSpPr>
            <a:spLocks noChangeArrowheads="1"/>
          </p:cNvSpPr>
          <p:nvPr/>
        </p:nvSpPr>
        <p:spPr bwMode="auto">
          <a:xfrm>
            <a:off x="7452320" y="2996952"/>
            <a:ext cx="1625600" cy="708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Субъекты РФ и муниципальные образования</a:t>
            </a:r>
            <a:endParaRPr lang="ru-RU" sz="1400" dirty="0">
              <a:solidFill>
                <a:srgbClr val="98480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Oval 41"/>
          <p:cNvSpPr>
            <a:spLocks noChangeAspect="1" noChangeArrowheads="1"/>
          </p:cNvSpPr>
          <p:nvPr/>
        </p:nvSpPr>
        <p:spPr bwMode="auto">
          <a:xfrm>
            <a:off x="5940152" y="1196752"/>
            <a:ext cx="1151110" cy="1152700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2" name="Рисунок 33" descr="1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56176" y="1340768"/>
            <a:ext cx="793251" cy="85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56"/>
          <p:cNvGrpSpPr>
            <a:grpSpLocks/>
          </p:cNvGrpSpPr>
          <p:nvPr/>
        </p:nvGrpSpPr>
        <p:grpSpPr bwMode="auto">
          <a:xfrm>
            <a:off x="3923928" y="2852936"/>
            <a:ext cx="1150938" cy="1152525"/>
            <a:chOff x="5724525" y="2428868"/>
            <a:chExt cx="1150938" cy="1152525"/>
          </a:xfrm>
          <a:solidFill>
            <a:schemeClr val="accent6">
              <a:lumMod val="75000"/>
            </a:schemeClr>
          </a:solidFill>
        </p:grpSpPr>
        <p:sp>
          <p:nvSpPr>
            <p:cNvPr id="34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grpFill/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35" name="Рисунок 34" descr="РФ.png"/>
            <p:cNvPicPr>
              <a:picLocks noChangeAspect="1"/>
            </p:cNvPicPr>
            <p:nvPr/>
          </p:nvPicPr>
          <p:blipFill>
            <a:blip r:embed="rId3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Группа 53"/>
          <p:cNvGrpSpPr>
            <a:grpSpLocks/>
          </p:cNvGrpSpPr>
          <p:nvPr/>
        </p:nvGrpSpPr>
        <p:grpSpPr bwMode="auto">
          <a:xfrm>
            <a:off x="5508104" y="4581128"/>
            <a:ext cx="1150937" cy="1152525"/>
            <a:chOff x="5357818" y="4572008"/>
            <a:chExt cx="1150937" cy="1152525"/>
          </a:xfrm>
        </p:grpSpPr>
        <p:sp>
          <p:nvSpPr>
            <p:cNvPr id="37" name="Oval 44"/>
            <p:cNvSpPr>
              <a:spLocks noChangeAspect="1" noChangeArrowheads="1"/>
            </p:cNvSpPr>
            <p:nvPr/>
          </p:nvSpPr>
          <p:spPr bwMode="auto">
            <a:xfrm>
              <a:off x="5357818" y="4572008"/>
              <a:ext cx="1150937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38" name="Рисунок 35" descr="население.png"/>
            <p:cNvPicPr>
              <a:picLocks noChangeAspect="1"/>
            </p:cNvPicPr>
            <p:nvPr/>
          </p:nvPicPr>
          <p:blipFill>
            <a:blip r:embed="rId4" cstate="print">
              <a:lum contrast="-10000"/>
            </a:blip>
            <a:srcRect/>
            <a:stretch>
              <a:fillRect/>
            </a:stretch>
          </p:blipFill>
          <p:spPr bwMode="auto">
            <a:xfrm>
              <a:off x="5643570" y="4857760"/>
              <a:ext cx="627063" cy="552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Группа 54"/>
          <p:cNvGrpSpPr>
            <a:grpSpLocks/>
          </p:cNvGrpSpPr>
          <p:nvPr/>
        </p:nvGrpSpPr>
        <p:grpSpPr bwMode="auto">
          <a:xfrm>
            <a:off x="2483768" y="4581128"/>
            <a:ext cx="1150937" cy="1152525"/>
            <a:chOff x="2555875" y="4572008"/>
            <a:chExt cx="1150938" cy="1152525"/>
          </a:xfrm>
        </p:grpSpPr>
        <p:sp>
          <p:nvSpPr>
            <p:cNvPr id="40" name="Oval 45"/>
            <p:cNvSpPr>
              <a:spLocks noChangeAspect="1" noChangeArrowheads="1"/>
            </p:cNvSpPr>
            <p:nvPr/>
          </p:nvSpPr>
          <p:spPr bwMode="auto">
            <a:xfrm>
              <a:off x="2555875" y="4572008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41" name="Рисунок 36" descr="michaeldb081100031.png"/>
            <p:cNvPicPr>
              <a:picLocks noChangeAspect="1"/>
            </p:cNvPicPr>
            <p:nvPr/>
          </p:nvPicPr>
          <p:blipFill>
            <a:blip r:embed="rId5" cstate="print">
              <a:lum contrast="-10000"/>
            </a:blip>
            <a:stretch>
              <a:fillRect/>
            </a:stretch>
          </p:blipFill>
          <p:spPr>
            <a:xfrm>
              <a:off x="2643174" y="4786322"/>
              <a:ext cx="977355" cy="674841"/>
            </a:xfrm>
            <a:prstGeom prst="ellipse">
              <a:avLst/>
            </a:prstGeom>
          </p:spPr>
        </p:pic>
      </p:grpSp>
      <p:grpSp>
        <p:nvGrpSpPr>
          <p:cNvPr id="6" name="Группа 37"/>
          <p:cNvGrpSpPr>
            <a:grpSpLocks/>
          </p:cNvGrpSpPr>
          <p:nvPr/>
        </p:nvGrpSpPr>
        <p:grpSpPr bwMode="auto">
          <a:xfrm>
            <a:off x="1907704" y="3284984"/>
            <a:ext cx="825500" cy="503238"/>
            <a:chOff x="2643174" y="2856709"/>
            <a:chExt cx="824480" cy="502125"/>
          </a:xfrm>
        </p:grpSpPr>
        <p:grpSp>
          <p:nvGrpSpPr>
            <p:cNvPr id="7" name="Группа 36"/>
            <p:cNvGrpSpPr>
              <a:grpSpLocks/>
            </p:cNvGrpSpPr>
            <p:nvPr/>
          </p:nvGrpSpPr>
          <p:grpSpPr bwMode="auto">
            <a:xfrm>
              <a:off x="2652699" y="3071805"/>
              <a:ext cx="814955" cy="287023"/>
              <a:chOff x="2652699" y="2854834"/>
              <a:chExt cx="814955" cy="504000"/>
            </a:xfrm>
          </p:grpSpPr>
          <p:sp>
            <p:nvSpPr>
              <p:cNvPr id="49" name="Прямоугольник 48"/>
              <p:cNvSpPr/>
              <p:nvPr/>
            </p:nvSpPr>
            <p:spPr>
              <a:xfrm>
                <a:off x="2652687" y="3141894"/>
                <a:ext cx="71349" cy="21695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2776359" y="3072358"/>
                <a:ext cx="72935" cy="286487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1" name="Прямоугольник 46"/>
              <p:cNvSpPr/>
              <p:nvPr/>
            </p:nvSpPr>
            <p:spPr>
              <a:xfrm>
                <a:off x="2900031" y="2963883"/>
                <a:ext cx="72935" cy="39496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3023703" y="2963883"/>
                <a:ext cx="72935" cy="394961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3147375" y="2855407"/>
                <a:ext cx="72935" cy="50343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3271047" y="2891566"/>
                <a:ext cx="72935" cy="46727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3396304" y="3036200"/>
                <a:ext cx="71350" cy="32264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cxnSp>
          <p:nvCxnSpPr>
            <p:cNvPr id="44" name="Прямая соединительная линия 43"/>
            <p:cNvCxnSpPr/>
            <p:nvPr/>
          </p:nvCxnSpPr>
          <p:spPr>
            <a:xfrm rot="5400000" flipH="1" flipV="1">
              <a:off x="2643244" y="2961183"/>
              <a:ext cx="142559" cy="142698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2770017" y="2969173"/>
              <a:ext cx="142698" cy="71279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 flipV="1">
              <a:off x="2888932" y="2888389"/>
              <a:ext cx="182337" cy="159983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/>
            <p:cNvCxnSpPr/>
            <p:nvPr/>
          </p:nvCxnSpPr>
          <p:spPr>
            <a:xfrm rot="16200000" flipH="1">
              <a:off x="3048330" y="2897058"/>
              <a:ext cx="106128" cy="8879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/>
            <p:cNvCxnSpPr/>
            <p:nvPr/>
          </p:nvCxnSpPr>
          <p:spPr>
            <a:xfrm flipV="1">
              <a:off x="3136276" y="2856709"/>
              <a:ext cx="309180" cy="118800"/>
            </a:xfrm>
            <a:prstGeom prst="line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55"/>
          <p:cNvGrpSpPr>
            <a:grpSpLocks/>
          </p:cNvGrpSpPr>
          <p:nvPr/>
        </p:nvGrpSpPr>
        <p:grpSpPr bwMode="auto">
          <a:xfrm>
            <a:off x="2123728" y="1196752"/>
            <a:ext cx="1150937" cy="1152525"/>
            <a:chOff x="3992566" y="3067052"/>
            <a:chExt cx="1150938" cy="1152525"/>
          </a:xfrm>
        </p:grpSpPr>
        <p:sp>
          <p:nvSpPr>
            <p:cNvPr id="57" name="Oval 46"/>
            <p:cNvSpPr>
              <a:spLocks noChangeAspect="1" noChangeArrowheads="1"/>
            </p:cNvSpPr>
            <p:nvPr/>
          </p:nvSpPr>
          <p:spPr bwMode="auto">
            <a:xfrm>
              <a:off x="3992566" y="3067052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58" name="Рисунок 32" descr="logotip_Sberbanka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135441" y="3211514"/>
              <a:ext cx="877888" cy="854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0" name="Oval 44"/>
          <p:cNvSpPr>
            <a:spLocks noChangeAspect="1" noChangeArrowheads="1"/>
          </p:cNvSpPr>
          <p:nvPr/>
        </p:nvSpPr>
        <p:spPr bwMode="auto">
          <a:xfrm>
            <a:off x="3635896" y="836712"/>
            <a:ext cx="1800200" cy="1360609"/>
          </a:xfrm>
          <a:prstGeom prst="ellipse">
            <a:avLst/>
          </a:prstGeom>
          <a:solidFill>
            <a:srgbClr val="009900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" name="Прямоугольник 17"/>
          <p:cNvSpPr>
            <a:spLocks noChangeArrowheads="1"/>
          </p:cNvSpPr>
          <p:nvPr/>
        </p:nvSpPr>
        <p:spPr bwMode="auto">
          <a:xfrm>
            <a:off x="323528" y="4725144"/>
            <a:ext cx="2232248" cy="1734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Поставщики услуг</a:t>
            </a: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троительные компании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ставщики оборудования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ные институты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траховые компании</a:t>
            </a:r>
          </a:p>
        </p:txBody>
      </p:sp>
      <p:sp>
        <p:nvSpPr>
          <p:cNvPr id="62" name="Прямоугольник 31"/>
          <p:cNvSpPr>
            <a:spLocks noChangeArrowheads="1"/>
          </p:cNvSpPr>
          <p:nvPr/>
        </p:nvSpPr>
        <p:spPr bwMode="auto">
          <a:xfrm>
            <a:off x="6732240" y="4797152"/>
            <a:ext cx="2411760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щественные организации</a:t>
            </a:r>
            <a:endParaRPr lang="ru-RU" sz="12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«Союз Промышленников и Предпринимателей»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АСИ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«Деловая России»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180975" defTabSz="957263">
              <a:lnSpc>
                <a:spcPct val="9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Экспертные сообщества</a:t>
            </a:r>
          </a:p>
          <a:p>
            <a:pPr defTabSz="957263">
              <a:lnSpc>
                <a:spcPct val="95000"/>
              </a:lnSpc>
              <a:spcAft>
                <a:spcPts val="600"/>
              </a:spcAft>
            </a:pPr>
            <a:endParaRPr lang="ru-RU" sz="1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179512" y="2924944"/>
            <a:ext cx="1493466" cy="1066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Инвесторы</a:t>
            </a:r>
          </a:p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05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Российские и иностранные ИНВЕСТФОНДЫ</a:t>
            </a:r>
          </a:p>
          <a:p>
            <a:pPr algn="r"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ru-RU" sz="105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092280" y="1196752"/>
            <a:ext cx="1656184" cy="936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Федеральные министерства   и ведомства </a:t>
            </a:r>
          </a:p>
          <a:p>
            <a:pPr defTabSz="957263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ru-RU" sz="1050" dirty="0">
              <a:solidFill>
                <a:srgbClr val="984807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5" name="Прямоугольник 16"/>
          <p:cNvSpPr>
            <a:spLocks noChangeArrowheads="1"/>
          </p:cNvSpPr>
          <p:nvPr/>
        </p:nvSpPr>
        <p:spPr bwMode="auto">
          <a:xfrm>
            <a:off x="539552" y="1268761"/>
            <a:ext cx="1440160" cy="929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Финансовые институты</a:t>
            </a:r>
          </a:p>
          <a:p>
            <a:pPr algn="r" defTabSz="957263">
              <a:lnSpc>
                <a:spcPct val="95000"/>
              </a:lnSpc>
              <a:spcAft>
                <a:spcPts val="600"/>
              </a:spcAft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Банки с госучастием</a:t>
            </a:r>
          </a:p>
        </p:txBody>
      </p:sp>
      <p:sp>
        <p:nvSpPr>
          <p:cNvPr id="66" name="Заголовок 1"/>
          <p:cNvSpPr txBox="1">
            <a:spLocks/>
          </p:cNvSpPr>
          <p:nvPr/>
        </p:nvSpPr>
        <p:spPr bwMode="auto">
          <a:xfrm>
            <a:off x="4139952" y="2996952"/>
            <a:ext cx="93610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РУР</a:t>
            </a:r>
          </a:p>
        </p:txBody>
      </p:sp>
      <p:sp>
        <p:nvSpPr>
          <p:cNvPr id="67" name="Заголовок 1"/>
          <p:cNvSpPr>
            <a:spLocks noGrp="1"/>
          </p:cNvSpPr>
          <p:nvPr>
            <p:ph type="title"/>
          </p:nvPr>
        </p:nvSpPr>
        <p:spPr>
          <a:xfrm>
            <a:off x="755576" y="188640"/>
            <a:ext cx="7848327" cy="432048"/>
          </a:xfrm>
        </p:spPr>
        <p:txBody>
          <a:bodyPr>
            <a:noAutofit/>
          </a:bodyPr>
          <a:lstStyle/>
          <a:p>
            <a:pPr eaLnBrk="1" hangingPunct="1">
              <a:lnSpc>
                <a:spcPct val="80000"/>
              </a:lnSpc>
            </a:pP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ординация основных участников </a:t>
            </a:r>
            <a:r>
              <a:rPr lang="ru-RU" sz="1600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вестпроце</a:t>
            </a:r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c</a:t>
            </a:r>
            <a:r>
              <a:rPr lang="ru-RU" sz="1600" dirty="0" err="1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а</a:t>
            </a: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pic>
        <p:nvPicPr>
          <p:cNvPr id="68" name="Picture 2" descr="C:\Program Files\Microsoft Office\MEDIA\CAGCAT10\j0205462.wm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88224" y="2852936"/>
            <a:ext cx="792088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71209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627784" y="1412776"/>
            <a:ext cx="3904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Заявки Инвестиционных проектов </a:t>
            </a:r>
            <a:endParaRPr lang="ru-RU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87624" y="1844824"/>
            <a:ext cx="6840760" cy="584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Первичный анализ юр. лица для соответствие государственных программ и ФЦП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87624" y="2492896"/>
            <a:ext cx="6840760" cy="5847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инвестиционном комитете </a:t>
            </a:r>
          </a:p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(решение инвестора)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87624" y="3140968"/>
            <a:ext cx="6840760" cy="584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комитете Банка </a:t>
            </a:r>
          </a:p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(внешнего эксперта по финансам)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187624" y="3789040"/>
            <a:ext cx="6840760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Субъектом РФ</a:t>
            </a:r>
            <a:endParaRPr lang="en-US" sz="1600" b="1" dirty="0" smtClean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87624" y="4170566"/>
            <a:ext cx="6840760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Рассмотрение проекта на заседании Попечительского совета</a:t>
            </a:r>
            <a:endParaRPr lang="ru-RU" sz="1600" b="1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843808" y="764704"/>
            <a:ext cx="3456384" cy="4001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ргкомитет Конкурса</a:t>
            </a:r>
            <a:endParaRPr lang="ru-RU" sz="20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Стрелка вниз 37"/>
          <p:cNvSpPr/>
          <p:nvPr/>
        </p:nvSpPr>
        <p:spPr>
          <a:xfrm>
            <a:off x="3995936" y="4509119"/>
            <a:ext cx="936104" cy="217765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2" name="TextBox 51"/>
          <p:cNvSpPr txBox="1"/>
          <p:nvPr/>
        </p:nvSpPr>
        <p:spPr>
          <a:xfrm>
            <a:off x="971600" y="4654877"/>
            <a:ext cx="685536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ализация инвестиционных проектов по механизму</a:t>
            </a:r>
          </a:p>
          <a:p>
            <a:pPr algn="ctr"/>
            <a:r>
              <a:rPr lang="ru-RU" b="1" u="sng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«Особые условия финансирования инвестиционных проектов»</a:t>
            </a:r>
            <a:endParaRPr lang="ru-RU" b="1" u="sng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7" name="Стрелка вниз 66"/>
          <p:cNvSpPr/>
          <p:nvPr/>
        </p:nvSpPr>
        <p:spPr>
          <a:xfrm>
            <a:off x="755576" y="16305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8" name="Стрелка вниз 67"/>
          <p:cNvSpPr/>
          <p:nvPr/>
        </p:nvSpPr>
        <p:spPr>
          <a:xfrm>
            <a:off x="755576" y="235062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9" name="Стрелка вниз 68"/>
          <p:cNvSpPr/>
          <p:nvPr/>
        </p:nvSpPr>
        <p:spPr>
          <a:xfrm>
            <a:off x="755576" y="2998693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0" name="Стрелка вниз 69"/>
          <p:cNvSpPr/>
          <p:nvPr/>
        </p:nvSpPr>
        <p:spPr>
          <a:xfrm>
            <a:off x="827584" y="436684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1" name="Стрелка вниз 70"/>
          <p:cNvSpPr/>
          <p:nvPr/>
        </p:nvSpPr>
        <p:spPr>
          <a:xfrm>
            <a:off x="755576" y="364676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2" name="Стрелка вниз 71"/>
          <p:cNvSpPr/>
          <p:nvPr/>
        </p:nvSpPr>
        <p:spPr>
          <a:xfrm>
            <a:off x="8172400" y="16305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3" name="Стрелка вниз 72"/>
          <p:cNvSpPr/>
          <p:nvPr/>
        </p:nvSpPr>
        <p:spPr>
          <a:xfrm>
            <a:off x="8172400" y="2206605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4" name="Стрелка вниз 73"/>
          <p:cNvSpPr/>
          <p:nvPr/>
        </p:nvSpPr>
        <p:spPr>
          <a:xfrm>
            <a:off x="8172400" y="2782669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5" name="Стрелка вниз 74"/>
          <p:cNvSpPr/>
          <p:nvPr/>
        </p:nvSpPr>
        <p:spPr>
          <a:xfrm>
            <a:off x="8172400" y="415082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6" name="Стрелка вниз 75"/>
          <p:cNvSpPr/>
          <p:nvPr/>
        </p:nvSpPr>
        <p:spPr>
          <a:xfrm>
            <a:off x="8172400" y="3430741"/>
            <a:ext cx="288032" cy="504056"/>
          </a:xfrm>
          <a:prstGeom prst="downArrow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2" name="TextBox 81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1443577"/>
              </p:ext>
            </p:extLst>
          </p:nvPr>
        </p:nvGraphicFramePr>
        <p:xfrm>
          <a:off x="251520" y="5589240"/>
          <a:ext cx="8715436" cy="105903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30431"/>
                <a:gridCol w="5109589"/>
                <a:gridCol w="1360241"/>
                <a:gridCol w="1815175"/>
              </a:tblGrid>
              <a:tr h="49274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marL="0" marR="0" indent="0" algn="l" defTabSz="89445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онсолидированных Заявок от субъектов РФ согласно Схемы</a:t>
                      </a:r>
                      <a:endParaRPr lang="ru-RU" sz="1300" b="0" dirty="0" smtClean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3. по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 01.09. по 30.10.</a:t>
                      </a:r>
                      <a:endParaRPr lang="ru-RU" sz="13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  <a:tr h="566285">
                <a:tc>
                  <a:txBody>
                    <a:bodyPr/>
                    <a:lstStyle/>
                    <a:p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нсолидированных Заявок субъектов РФ,</a:t>
                      </a:r>
                      <a:r>
                        <a:rPr lang="ru-RU" sz="1300" baseline="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ключающих Заявки инвестиционных проектов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жегодно 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05.</a:t>
                      </a:r>
                    </a:p>
                    <a:p>
                      <a:pPr algn="ctr"/>
                      <a:r>
                        <a:rPr lang="ru-RU" sz="1300" dirty="0" smtClean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позднее 30.10.</a:t>
                      </a:r>
                      <a:endParaRPr lang="ru-RU" sz="13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303" marR="93303" marT="46649" marB="46649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8"/>
          </a:xfrm>
        </p:spPr>
        <p:txBody>
          <a:bodyPr>
            <a:normAutofit/>
          </a:bodyPr>
          <a:lstStyle/>
          <a:p>
            <a:r>
              <a:rPr lang="ru-RU" sz="1600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Особые условия финансирования </a:t>
            </a:r>
            <a:endParaRPr lang="ru-RU" sz="1600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95536" y="5229200"/>
            <a:ext cx="8501062" cy="714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3528" y="836712"/>
            <a:ext cx="8501062" cy="7920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3528" y="1844824"/>
            <a:ext cx="8568952" cy="1074415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95536" y="2996952"/>
            <a:ext cx="8501062" cy="914995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08658" y="3989660"/>
            <a:ext cx="8501062" cy="1023516"/>
          </a:xfrm>
          <a:prstGeom prst="rect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51520" y="836712"/>
            <a:ext cx="1656184" cy="756008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ЗАЛОГ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одержимое 2"/>
          <p:cNvSpPr txBox="1">
            <a:spLocks/>
          </p:cNvSpPr>
          <p:nvPr/>
        </p:nvSpPr>
        <p:spPr>
          <a:xfrm>
            <a:off x="1979712" y="908720"/>
            <a:ext cx="6984776" cy="5832648"/>
          </a:xfrm>
          <a:prstGeom prst="rect">
            <a:avLst/>
          </a:prstGeom>
        </p:spPr>
        <p:txBody>
          <a:bodyPr/>
          <a:lstStyle/>
          <a:p>
            <a:pPr algn="ctr" fontAlgn="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омфортное обеспечение</a:t>
            </a:r>
          </a:p>
          <a:p>
            <a:pPr algn="ctr" fontAlgn="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Основное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обеспечение</a:t>
            </a: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tabLst>
                <a:tab pos="534988" algn="l"/>
              </a:tabLs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проектов, соответствующих требованиям Постановления Правительства №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044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ровень процентной ставки, установленной ЦБ для уполномоченных Банком в целях рефинансирования кредитов + 2,5%</a:t>
            </a:r>
          </a:p>
          <a:p>
            <a:pPr algn="ctr"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ля проектов, соответствующих требованиям ФЗ № 209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ровень процентной ставки, установленной ЦБ для уполномоченных Банком в целях рефинансирования кредитов + 2,5%</a:t>
            </a:r>
          </a:p>
          <a:p>
            <a:pPr algn="ctr"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ектов, соответствующих требованиям нормативно – правовых актов,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азрабатываемых в порядке реализации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в рамках Распоряжения №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98-Р 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отдельным нормативно – правовым актам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о уплате процент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 6 до 9 месяце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 smtClean="0">
              <a:solidFill>
                <a:schemeClr val="accent3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1081088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	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79512" y="1844824"/>
            <a:ext cx="1709936" cy="3168352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СТОИМОСТЬ СРЕДСТВ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67544" y="6021288"/>
            <a:ext cx="8424936" cy="7143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 отсрочке </a:t>
            </a:r>
            <a:r>
              <a:rPr lang="ru-RU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</a:t>
            </a:r>
          </a:p>
          <a:p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</a:t>
            </a:r>
          </a:p>
          <a:p>
            <a:pPr algn="ctr"/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По </a:t>
            </a:r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сновному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олгу</a:t>
            </a:r>
          </a:p>
          <a:p>
            <a:pPr algn="ctr"/>
            <a:r>
              <a:rPr lang="ru-RU" sz="16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                             </a:t>
            </a:r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о 36 месяцев</a:t>
            </a:r>
          </a:p>
          <a:p>
            <a:endParaRPr lang="ru-RU" sz="1600" b="1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79512" y="5157192"/>
            <a:ext cx="1656184" cy="1584176"/>
          </a:xfrm>
          <a:prstGeom prst="roundRect">
            <a:avLst/>
          </a:prstGeom>
          <a:solidFill>
            <a:srgbClr val="00800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ФИНАНСОВЫЕ</a:t>
            </a:r>
          </a:p>
          <a:p>
            <a:pPr algn="ctr"/>
            <a:r>
              <a:rPr lang="ru-RU" sz="1300" b="1" dirty="0" smtClean="0">
                <a:latin typeface="Times New Roman" pitchFamily="18" charset="0"/>
                <a:cs typeface="Times New Roman" pitchFamily="18" charset="0"/>
              </a:rPr>
              <a:t>каникулы</a:t>
            </a:r>
            <a:endParaRPr lang="ru-RU" sz="13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   </a:t>
            </a: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акие проекты могут быть заявлены на Конкурс</a:t>
            </a:r>
            <a:endParaRPr lang="ru-RU" sz="1600" dirty="0"/>
          </a:p>
        </p:txBody>
      </p:sp>
      <p:sp>
        <p:nvSpPr>
          <p:cNvPr id="4" name="Равнобедренный треугольник 3"/>
          <p:cNvSpPr/>
          <p:nvPr/>
        </p:nvSpPr>
        <p:spPr bwMode="auto">
          <a:xfrm>
            <a:off x="3779912" y="836712"/>
            <a:ext cx="3024336" cy="1440160"/>
          </a:xfrm>
          <a:prstGeom prst="triangle">
            <a:avLst>
              <a:gd name="adj" fmla="val 50658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chemeClr val="bg1"/>
              </a:solidFill>
            </a:endParaRPr>
          </a:p>
        </p:txBody>
      </p:sp>
      <p:sp>
        <p:nvSpPr>
          <p:cNvPr id="5" name="Трапеция 4"/>
          <p:cNvSpPr/>
          <p:nvPr/>
        </p:nvSpPr>
        <p:spPr bwMode="auto">
          <a:xfrm>
            <a:off x="2843808" y="2420888"/>
            <a:ext cx="4896544" cy="1656015"/>
          </a:xfrm>
          <a:prstGeom prst="trapezoid">
            <a:avLst>
              <a:gd name="adj" fmla="val 59183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6" name="Трапеция 5"/>
          <p:cNvSpPr/>
          <p:nvPr/>
        </p:nvSpPr>
        <p:spPr bwMode="auto">
          <a:xfrm>
            <a:off x="2267744" y="4221088"/>
            <a:ext cx="5976664" cy="1008112"/>
          </a:xfrm>
          <a:prstGeom prst="trapezoid">
            <a:avLst>
              <a:gd name="adj" fmla="val 54552"/>
            </a:avLst>
          </a:prstGeom>
          <a:solidFill>
            <a:srgbClr val="418A1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balanced" dir="t"/>
          </a:scene3d>
          <a:sp3d extrusionH="101600" contourW="12700">
            <a:bevelT w="120650" h="127000"/>
            <a:bevelB prst="relaxedInset"/>
            <a:extrusionClr>
              <a:schemeClr val="accent3">
                <a:lumMod val="75000"/>
              </a:schemeClr>
            </a:extrusionClr>
            <a:contourClr>
              <a:schemeClr val="accent3">
                <a:lumMod val="75000"/>
              </a:schemeClr>
            </a:contourClr>
          </a:sp3d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7" name="Трапеция 6"/>
          <p:cNvSpPr/>
          <p:nvPr/>
        </p:nvSpPr>
        <p:spPr bwMode="auto">
          <a:xfrm>
            <a:off x="2627784" y="5445224"/>
            <a:ext cx="5935690" cy="605484"/>
          </a:xfrm>
          <a:prstGeom prst="trapezoid">
            <a:avLst>
              <a:gd name="adj" fmla="val 49391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8" name="Овал 19"/>
          <p:cNvSpPr>
            <a:spLocks noChangeArrowheads="1"/>
          </p:cNvSpPr>
          <p:nvPr/>
        </p:nvSpPr>
        <p:spPr bwMode="auto">
          <a:xfrm>
            <a:off x="323528" y="450912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A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9" name="Овал 19"/>
          <p:cNvSpPr>
            <a:spLocks noChangeArrowheads="1"/>
          </p:cNvSpPr>
          <p:nvPr/>
        </p:nvSpPr>
        <p:spPr bwMode="auto">
          <a:xfrm>
            <a:off x="323528" y="2564904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B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10" name="Овал 19"/>
          <p:cNvSpPr>
            <a:spLocks noChangeArrowheads="1"/>
          </p:cNvSpPr>
          <p:nvPr/>
        </p:nvSpPr>
        <p:spPr bwMode="auto">
          <a:xfrm>
            <a:off x="323528" y="1196752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C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323528" y="2276872"/>
            <a:ext cx="800697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Прямая соединительная линия 11"/>
          <p:cNvCxnSpPr/>
          <p:nvPr/>
        </p:nvCxnSpPr>
        <p:spPr bwMode="auto">
          <a:xfrm>
            <a:off x="304771" y="4117665"/>
            <a:ext cx="7971541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Прямая соединительная линия 12"/>
          <p:cNvCxnSpPr/>
          <p:nvPr/>
        </p:nvCxnSpPr>
        <p:spPr bwMode="auto">
          <a:xfrm>
            <a:off x="318942" y="5301208"/>
            <a:ext cx="804196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Правая фигурная скобка 13"/>
          <p:cNvSpPr/>
          <p:nvPr/>
        </p:nvSpPr>
        <p:spPr bwMode="auto">
          <a:xfrm>
            <a:off x="8100392" y="1357391"/>
            <a:ext cx="202019" cy="803105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5" name="Правая фигурная скобка 14"/>
          <p:cNvSpPr/>
          <p:nvPr/>
        </p:nvSpPr>
        <p:spPr bwMode="auto">
          <a:xfrm>
            <a:off x="8100392" y="2339165"/>
            <a:ext cx="226823" cy="168651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6" name="Правая фигурная скобка 15"/>
          <p:cNvSpPr/>
          <p:nvPr/>
        </p:nvSpPr>
        <p:spPr bwMode="auto">
          <a:xfrm>
            <a:off x="8103930" y="4214111"/>
            <a:ext cx="249761" cy="967809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348482" y="1544514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353691" y="2978546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353691" y="4499828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71600" y="1268760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пециальные программные решения отдельно по каждому проекту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66899" y="2604990"/>
            <a:ext cx="26687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Ускоренная схема рассмотрения 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63342" y="4355363"/>
            <a:ext cx="2668772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Комплексная систем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опровождени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ов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5536" y="5445224"/>
            <a:ext cx="266877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Механизмы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финансирования</a:t>
            </a:r>
            <a:endParaRPr lang="ru-RU" sz="13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644008" y="1412776"/>
            <a:ext cx="14084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Незавершенное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оизводство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дернизация     др. проекты</a:t>
            </a:r>
            <a:endParaRPr lang="ru-RU" sz="11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707904" y="2852936"/>
            <a:ext cx="324036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ы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наличием 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решитель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кументации      </a:t>
            </a: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3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563888" y="4365104"/>
            <a:ext cx="381642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ы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с нуля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 </a:t>
            </a:r>
            <a:endParaRPr lang="en-US" sz="13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ез наличия разработанной </a:t>
            </a:r>
            <a:r>
              <a:rPr lang="ru-RU" sz="13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 </a:t>
            </a: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- сметной документации)</a:t>
            </a:r>
          </a:p>
        </p:txBody>
      </p:sp>
      <p:sp>
        <p:nvSpPr>
          <p:cNvPr id="27" name="Трапеция 26"/>
          <p:cNvSpPr/>
          <p:nvPr/>
        </p:nvSpPr>
        <p:spPr bwMode="auto">
          <a:xfrm>
            <a:off x="1475656" y="5373216"/>
            <a:ext cx="7560840" cy="1152128"/>
          </a:xfrm>
          <a:prstGeom prst="trapezoid">
            <a:avLst>
              <a:gd name="adj" fmla="val 54552"/>
            </a:avLst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ектное </a:t>
            </a:r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нвестиционное финансирование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Концессия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 и другие механизмы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2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2" descr="Картинка 30 из 29046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420888"/>
            <a:ext cx="582803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1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3933056"/>
            <a:ext cx="619036" cy="495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7" descr="http://im7-tub-ru.yandex.net/i?id=337587134-02-7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4745117"/>
            <a:ext cx="274313" cy="484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http://www.bsncharteredaccountants.co.uk/images/business_start_up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691680" y="5517232"/>
            <a:ext cx="751102" cy="4698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7" name="Группа 2"/>
          <p:cNvGrpSpPr/>
          <p:nvPr/>
        </p:nvGrpSpPr>
        <p:grpSpPr>
          <a:xfrm>
            <a:off x="1691680" y="2996952"/>
            <a:ext cx="648072" cy="622675"/>
            <a:chOff x="2275003" y="3098149"/>
            <a:chExt cx="911489" cy="719137"/>
          </a:xfrm>
        </p:grpSpPr>
        <p:pic>
          <p:nvPicPr>
            <p:cNvPr id="8" name="Picture 20" descr="D:\Go\20110530_Сбербанк\Презентация\Материалы\heyhey.ru_City_iconset_PNG\City_iconset_PNG\bridge.png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75003" y="3098149"/>
              <a:ext cx="779065" cy="719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7" descr="\\volkov-7\Exchange\icons razdel\Иконки\Трактор и свинка\Трактор.png"/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9917" y="3307698"/>
              <a:ext cx="536575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Прямоугольник 10"/>
          <p:cNvSpPr/>
          <p:nvPr>
            <p:custDataLst>
              <p:tags r:id="rId2"/>
            </p:custDataLst>
          </p:nvPr>
        </p:nvSpPr>
        <p:spPr>
          <a:xfrm>
            <a:off x="7596336" y="1628800"/>
            <a:ext cx="1477134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Комбинированные схемы финансирования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3"/>
            </p:custDataLst>
          </p:nvPr>
        </p:nvSpPr>
        <p:spPr>
          <a:xfrm>
            <a:off x="6012160" y="1628800"/>
            <a:ext cx="1405126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Концессии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4"/>
            </p:custDataLst>
          </p:nvPr>
        </p:nvSpPr>
        <p:spPr>
          <a:xfrm>
            <a:off x="4427984" y="1628800"/>
            <a:ext cx="1405126" cy="583823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2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оектное финансирование с госучастием</a:t>
            </a:r>
            <a:endParaRPr lang="ru-RU" sz="12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5"/>
            </p:custDataLst>
          </p:nvPr>
        </p:nvSpPr>
        <p:spPr>
          <a:xfrm>
            <a:off x="4427984" y="836712"/>
            <a:ext cx="4608512" cy="29185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ипы финансовых продуктов</a:t>
            </a:r>
          </a:p>
        </p:txBody>
      </p:sp>
      <p:sp>
        <p:nvSpPr>
          <p:cNvPr id="15" name="Прямоугольник 14"/>
          <p:cNvSpPr/>
          <p:nvPr>
            <p:custDataLst>
              <p:tags r:id="rId6"/>
            </p:custDataLst>
          </p:nvPr>
        </p:nvSpPr>
        <p:spPr>
          <a:xfrm>
            <a:off x="2630035" y="1628800"/>
            <a:ext cx="1725941" cy="46166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имеры</a:t>
            </a:r>
            <a:endParaRPr lang="en-US" sz="1300" b="1" dirty="0" smtClean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7"/>
            </p:custDataLst>
          </p:nvPr>
        </p:nvSpPr>
        <p:spPr>
          <a:xfrm>
            <a:off x="107504" y="1196752"/>
            <a:ext cx="4216176" cy="37269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b="1" dirty="0" smtClean="0">
                <a:solidFill>
                  <a:schemeClr val="bg2"/>
                </a:solidFill>
                <a:latin typeface="Times New Roman" pitchFamily="18" charset="0"/>
                <a:cs typeface="Times New Roman" pitchFamily="18" charset="0"/>
              </a:rPr>
              <a:t>Приоритетные сектора экономики</a:t>
            </a:r>
            <a:endParaRPr lang="ru-RU" sz="1300" b="1" dirty="0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8"/>
            </p:custDataLst>
          </p:nvPr>
        </p:nvSpPr>
        <p:spPr>
          <a:xfrm>
            <a:off x="107505" y="2420888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циальные </a:t>
            </a: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екторы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2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39752" y="2204864"/>
            <a:ext cx="2016224" cy="68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lnSpc>
                <a:spcPts val="1000"/>
              </a:lnSpc>
              <a:buSzPct val="110000"/>
              <a:buFont typeface="Arial" pitchFamily="34" charset="0"/>
              <a:buChar char="•"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дравоохран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оциальные учреждения</a:t>
            </a:r>
            <a:endParaRPr lang="en-US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ямоугольник 2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339752" y="3068960"/>
            <a:ext cx="18214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Логистические центры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Промышленные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арки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Дороги и 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рямоугольник 2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339752" y="3789040"/>
            <a:ext cx="208823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Водоснабжение, водоотвед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Отопление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Переработка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ходов и 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339752" y="4797152"/>
            <a:ext cx="216024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Генерация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ети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Энергоэффективность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и пр. </a:t>
            </a:r>
          </a:p>
        </p:txBody>
      </p:sp>
      <p:sp>
        <p:nvSpPr>
          <p:cNvPr id="22" name="Прямоугольник 25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11760" y="5517232"/>
            <a:ext cx="182146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Тепличные хозяйств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тицефабрики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чи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4"/>
            </p:custDataLst>
          </p:nvPr>
        </p:nvSpPr>
        <p:spPr>
          <a:xfrm>
            <a:off x="107505" y="3212976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фраструктура</a:t>
            </a:r>
          </a:p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ранспорт</a:t>
            </a:r>
          </a:p>
        </p:txBody>
      </p:sp>
      <p:sp>
        <p:nvSpPr>
          <p:cNvPr id="24" name="Прямоугольник 23"/>
          <p:cNvSpPr/>
          <p:nvPr>
            <p:custDataLst>
              <p:tags r:id="rId15"/>
            </p:custDataLst>
          </p:nvPr>
        </p:nvSpPr>
        <p:spPr>
          <a:xfrm>
            <a:off x="107505" y="3933056"/>
            <a:ext cx="1368151" cy="512961"/>
          </a:xfrm>
          <a:prstGeom prst="rect">
            <a:avLst/>
          </a:prstGeom>
          <a:gradFill>
            <a:gsLst>
              <a:gs pos="0">
                <a:schemeClr val="accent3">
                  <a:lumMod val="75000"/>
                </a:schemeClr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ЖКХ</a:t>
            </a:r>
          </a:p>
        </p:txBody>
      </p:sp>
      <p:sp>
        <p:nvSpPr>
          <p:cNvPr id="25" name="Прямоугольник 24"/>
          <p:cNvSpPr/>
          <p:nvPr>
            <p:custDataLst>
              <p:tags r:id="rId16"/>
            </p:custDataLst>
          </p:nvPr>
        </p:nvSpPr>
        <p:spPr>
          <a:xfrm>
            <a:off x="107505" y="4797152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Энергетика</a:t>
            </a:r>
          </a:p>
        </p:txBody>
      </p:sp>
      <p:sp>
        <p:nvSpPr>
          <p:cNvPr id="26" name="Прямоугольник 25"/>
          <p:cNvSpPr/>
          <p:nvPr>
            <p:custDataLst>
              <p:tags r:id="rId17"/>
            </p:custDataLst>
          </p:nvPr>
        </p:nvSpPr>
        <p:spPr>
          <a:xfrm>
            <a:off x="107505" y="5549232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АПК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 bwMode="auto">
          <a:xfrm>
            <a:off x="4655212" y="2986335"/>
            <a:ext cx="4322906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4655212" y="356879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4655212" y="415125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4655212" y="473371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4655212" y="531617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4655212" y="5898635"/>
            <a:ext cx="432290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 flipV="1">
            <a:off x="4427984" y="6481099"/>
            <a:ext cx="4550134" cy="26026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/>
        </p:nvCxnSpPr>
        <p:spPr bwMode="auto">
          <a:xfrm flipV="1">
            <a:off x="4655212" y="2986335"/>
            <a:ext cx="0" cy="34947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/>
        </p:nvCxnSpPr>
        <p:spPr bwMode="auto">
          <a:xfrm flipV="1">
            <a:off x="8964613" y="2986335"/>
            <a:ext cx="0" cy="3494764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/>
        </p:nvCxnSpPr>
        <p:spPr bwMode="auto">
          <a:xfrm flipV="1">
            <a:off x="6092208" y="2986335"/>
            <a:ext cx="0" cy="3494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 flipV="1">
            <a:off x="7527617" y="2986335"/>
            <a:ext cx="0" cy="3494764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рямоугольник 37"/>
          <p:cNvSpPr/>
          <p:nvPr>
            <p:custDataLst>
              <p:tags r:id="rId18"/>
            </p:custDataLst>
          </p:nvPr>
        </p:nvSpPr>
        <p:spPr>
          <a:xfrm>
            <a:off x="107505" y="6197304"/>
            <a:ext cx="1368151" cy="512961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 defTabSz="900113" eaLnBrk="0" hangingPunct="0">
              <a:buClr>
                <a:srgbClr val="AE2C25"/>
              </a:buClr>
              <a:buSzPct val="110000"/>
              <a:defRPr/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иоритетные сектора</a:t>
            </a:r>
          </a:p>
        </p:txBody>
      </p:sp>
      <p:sp>
        <p:nvSpPr>
          <p:cNvPr id="39" name="Прямоугольник 2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411760" y="6021288"/>
            <a:ext cx="1821467" cy="866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marL="171450" indent="-171450" defTabSz="900113" eaLnBrk="0" hangingPunct="0">
              <a:lnSpc>
                <a:spcPts val="1000"/>
              </a:lnSpc>
              <a:buSzPct val="110000"/>
              <a:buFont typeface="Arial" pitchFamily="34" charset="0"/>
              <a:buChar char="•"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Инновационная экономика</a:t>
            </a:r>
          </a:p>
          <a:p>
            <a:pPr marL="171450" indent="-171450" defTabSz="900113" eaLnBrk="0" hangingPunct="0">
              <a:buSzPct val="110000"/>
              <a:buFont typeface="Arial" pitchFamily="34" charset="0"/>
              <a:buChar char="•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мышленность прочие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0" name="Picture 4"/>
          <p:cNvPicPr>
            <a:picLocks noChangeAspect="1" noChangeArrowheads="1"/>
          </p:cNvPicPr>
          <p:nvPr/>
        </p:nvPicPr>
        <p:blipFill rotWithShape="1"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91680" y="6237312"/>
            <a:ext cx="627514" cy="41277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Овал 19"/>
          <p:cNvSpPr>
            <a:spLocks noChangeArrowheads="1"/>
          </p:cNvSpPr>
          <p:nvPr/>
        </p:nvSpPr>
        <p:spPr bwMode="auto">
          <a:xfrm>
            <a:off x="4932040" y="234888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2" name="Овал 19"/>
          <p:cNvSpPr>
            <a:spLocks noChangeArrowheads="1"/>
          </p:cNvSpPr>
          <p:nvPr/>
        </p:nvSpPr>
        <p:spPr bwMode="auto">
          <a:xfrm>
            <a:off x="6516216" y="2348880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3" name="Овал 19"/>
          <p:cNvSpPr>
            <a:spLocks noChangeArrowheads="1"/>
          </p:cNvSpPr>
          <p:nvPr/>
        </p:nvSpPr>
        <p:spPr bwMode="auto">
          <a:xfrm>
            <a:off x="4932040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4" name="Овал 19"/>
          <p:cNvSpPr>
            <a:spLocks noChangeArrowheads="1"/>
          </p:cNvSpPr>
          <p:nvPr/>
        </p:nvSpPr>
        <p:spPr bwMode="auto">
          <a:xfrm>
            <a:off x="4932040" y="31409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5" name="Овал 19"/>
          <p:cNvSpPr>
            <a:spLocks noChangeArrowheads="1"/>
          </p:cNvSpPr>
          <p:nvPr/>
        </p:nvSpPr>
        <p:spPr bwMode="auto">
          <a:xfrm>
            <a:off x="8128403" y="31409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6" name="Овал 19"/>
          <p:cNvSpPr>
            <a:spLocks noChangeArrowheads="1"/>
          </p:cNvSpPr>
          <p:nvPr/>
        </p:nvSpPr>
        <p:spPr bwMode="auto">
          <a:xfrm>
            <a:off x="4932040" y="49411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7" name="Овал 19"/>
          <p:cNvSpPr>
            <a:spLocks noChangeArrowheads="1"/>
          </p:cNvSpPr>
          <p:nvPr/>
        </p:nvSpPr>
        <p:spPr bwMode="auto">
          <a:xfrm>
            <a:off x="6588224" y="494116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8" name="Овал 19"/>
          <p:cNvSpPr>
            <a:spLocks noChangeArrowheads="1"/>
          </p:cNvSpPr>
          <p:nvPr/>
        </p:nvSpPr>
        <p:spPr bwMode="auto">
          <a:xfrm>
            <a:off x="6588224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9" name="Овал 19"/>
          <p:cNvSpPr>
            <a:spLocks noChangeArrowheads="1"/>
          </p:cNvSpPr>
          <p:nvPr/>
        </p:nvSpPr>
        <p:spPr bwMode="auto">
          <a:xfrm>
            <a:off x="8128403" y="638132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0" name="Овал 19"/>
          <p:cNvSpPr>
            <a:spLocks noChangeArrowheads="1"/>
          </p:cNvSpPr>
          <p:nvPr/>
        </p:nvSpPr>
        <p:spPr bwMode="auto">
          <a:xfrm>
            <a:off x="4932040" y="638132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1" name="Овал 19"/>
          <p:cNvSpPr>
            <a:spLocks noChangeArrowheads="1"/>
          </p:cNvSpPr>
          <p:nvPr/>
        </p:nvSpPr>
        <p:spPr bwMode="auto">
          <a:xfrm>
            <a:off x="4932040" y="5661248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2" name="Овал 19"/>
          <p:cNvSpPr>
            <a:spLocks noChangeArrowheads="1"/>
          </p:cNvSpPr>
          <p:nvPr/>
        </p:nvSpPr>
        <p:spPr bwMode="auto">
          <a:xfrm>
            <a:off x="8128403" y="3933056"/>
            <a:ext cx="404037" cy="37424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V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55" name="Заголовок 54"/>
          <p:cNvSpPr txBox="1">
            <a:spLocks noGrp="1"/>
          </p:cNvSpPr>
          <p:nvPr>
            <p:ph type="title"/>
          </p:nvPr>
        </p:nvSpPr>
        <p:spPr>
          <a:xfrm>
            <a:off x="214282" y="142852"/>
            <a:ext cx="500066" cy="276999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endParaRPr lang="ru-RU" sz="1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83568" y="188640"/>
            <a:ext cx="3878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Категории инвестиционных проектов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016" y="188640"/>
            <a:ext cx="7602408" cy="366522"/>
          </a:xfrm>
        </p:spPr>
        <p:txBody>
          <a:bodyPr>
            <a:normAutofit/>
          </a:bodyPr>
          <a:lstStyle/>
          <a:p>
            <a:r>
              <a:rPr lang="ru-RU" sz="1600" dirty="0" smtClean="0">
                <a:solidFill>
                  <a:srgbClr val="4F6228"/>
                </a:solidFill>
                <a:latin typeface="Times New Roman" pitchFamily="18" charset="0"/>
                <a:cs typeface="Times New Roman" pitchFamily="18" charset="0"/>
              </a:rPr>
              <a:t>Схема финансирования инвестиционного проекта </a:t>
            </a:r>
            <a:endParaRPr lang="ru-RU" sz="1600" dirty="0">
              <a:solidFill>
                <a:srgbClr val="4F622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AutoShape 45"/>
          <p:cNvSpPr>
            <a:spLocks noChangeArrowheads="1"/>
          </p:cNvSpPr>
          <p:nvPr/>
        </p:nvSpPr>
        <p:spPr bwMode="auto">
          <a:xfrm>
            <a:off x="3995936" y="836712"/>
            <a:ext cx="3024336" cy="823913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endParaRPr lang="en-US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1 – учреждение компании-Заемщика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Инициатором </a:t>
            </a: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а и Инвестором и </a:t>
            </a:r>
            <a:endParaRPr lang="en-US" sz="1200" b="1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spcBef>
                <a:spcPct val="0"/>
              </a:spcBef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внесение </a:t>
            </a:r>
            <a:r>
              <a:rPr lang="ru-RU" sz="1200" b="1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воих долей участия</a:t>
            </a:r>
          </a:p>
          <a:p>
            <a:pPr algn="ctr"/>
            <a:endParaRPr lang="ru-RU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 Box 148"/>
          <p:cNvSpPr txBox="1">
            <a:spLocks noChangeArrowheads="1"/>
          </p:cNvSpPr>
          <p:nvPr/>
        </p:nvSpPr>
        <p:spPr bwMode="auto">
          <a:xfrm>
            <a:off x="3370474" y="3117968"/>
            <a:ext cx="409290" cy="4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10800000" anchor="ctr"/>
          <a:lstStyle/>
          <a:p>
            <a:pPr algn="ctr"/>
            <a:endParaRPr lang="ru-RU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Rectangle 36"/>
          <p:cNvSpPr>
            <a:spLocks noChangeArrowheads="1"/>
          </p:cNvSpPr>
          <p:nvPr/>
        </p:nvSpPr>
        <p:spPr bwMode="auto">
          <a:xfrm>
            <a:off x="4860032" y="2492896"/>
            <a:ext cx="1422400" cy="770384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емщик</a:t>
            </a:r>
          </a:p>
          <a:p>
            <a:pPr algn="ctr"/>
            <a:r>
              <a:rPr lang="ru-RU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40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SPV)</a:t>
            </a:r>
            <a:endParaRPr lang="ru-RU" sz="1400" b="1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Rectangle 36"/>
          <p:cNvSpPr>
            <a:spLocks noChangeArrowheads="1"/>
          </p:cNvSpPr>
          <p:nvPr/>
        </p:nvSpPr>
        <p:spPr bwMode="auto">
          <a:xfrm>
            <a:off x="3923928" y="1772816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ложение от 10% </a:t>
            </a:r>
            <a:endParaRPr lang="en-US" sz="1050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Rectangle 36"/>
          <p:cNvSpPr>
            <a:spLocks noChangeArrowheads="1"/>
          </p:cNvSpPr>
          <p:nvPr/>
        </p:nvSpPr>
        <p:spPr bwMode="auto">
          <a:xfrm>
            <a:off x="5436096" y="1772816"/>
            <a:ext cx="1487488" cy="66675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defRPr/>
            </a:pPr>
            <a:r>
              <a:rPr lang="ru-RU" sz="1050" b="1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ор 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30% </a:t>
            </a:r>
            <a:endParaRPr lang="en-US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ru-RU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050" i="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050" i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Штриховая стрелка вправо 3"/>
          <p:cNvSpPr/>
          <p:nvPr/>
        </p:nvSpPr>
        <p:spPr>
          <a:xfrm flipH="1">
            <a:off x="1475656" y="2564904"/>
            <a:ext cx="3168352" cy="144016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Rectangle 36"/>
          <p:cNvSpPr>
            <a:spLocks noChangeArrowheads="1"/>
          </p:cNvSpPr>
          <p:nvPr/>
        </p:nvSpPr>
        <p:spPr bwMode="auto">
          <a:xfrm>
            <a:off x="467544" y="2924944"/>
            <a:ext cx="1388616" cy="47941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правляющая компания</a:t>
            </a:r>
          </a:p>
        </p:txBody>
      </p:sp>
      <p:sp>
        <p:nvSpPr>
          <p:cNvPr id="29" name="Rectangle 36"/>
          <p:cNvSpPr>
            <a:spLocks noChangeArrowheads="1"/>
          </p:cNvSpPr>
          <p:nvPr/>
        </p:nvSpPr>
        <p:spPr bwMode="auto">
          <a:xfrm>
            <a:off x="467544" y="3501008"/>
            <a:ext cx="1368152" cy="72008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ехнический Заказчик</a:t>
            </a:r>
            <a:endParaRPr lang="ru-RU" sz="13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Rectangle 36"/>
          <p:cNvSpPr>
            <a:spLocks noChangeArrowheads="1"/>
          </p:cNvSpPr>
          <p:nvPr/>
        </p:nvSpPr>
        <p:spPr bwMode="auto">
          <a:xfrm>
            <a:off x="467544" y="4290169"/>
            <a:ext cx="1368152" cy="506983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аховая компания</a:t>
            </a:r>
          </a:p>
        </p:txBody>
      </p:sp>
      <p:sp>
        <p:nvSpPr>
          <p:cNvPr id="31" name="AutoShape 45"/>
          <p:cNvSpPr>
            <a:spLocks noChangeArrowheads="1"/>
          </p:cNvSpPr>
          <p:nvPr/>
        </p:nvSpPr>
        <p:spPr bwMode="auto">
          <a:xfrm>
            <a:off x="1979712" y="2708920"/>
            <a:ext cx="2664296" cy="288032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r>
              <a:rPr lang="ru-RU" sz="11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2 –заключение договора  управление</a:t>
            </a: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AutoShape 45"/>
          <p:cNvSpPr>
            <a:spLocks noChangeArrowheads="1"/>
          </p:cNvSpPr>
          <p:nvPr/>
        </p:nvSpPr>
        <p:spPr bwMode="auto">
          <a:xfrm>
            <a:off x="107504" y="764704"/>
            <a:ext cx="3672408" cy="1152128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algn="just"/>
            <a:endParaRPr lang="en-US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just">
              <a:spcBef>
                <a:spcPct val="0"/>
              </a:spcBef>
              <a:buClr>
                <a:srgbClr val="008A53"/>
              </a:buClr>
            </a:pPr>
            <a:r>
              <a:rPr lang="ru-RU" sz="12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 договору УК обеспечивает:</a:t>
            </a:r>
          </a:p>
          <a:p>
            <a:pPr marL="171450" lvl="1" indent="-171450" algn="just">
              <a:spcBef>
                <a:spcPct val="0"/>
              </a:spcBef>
              <a:buClr>
                <a:srgbClr val="008A53"/>
              </a:buClr>
              <a:buFont typeface="Arial"/>
              <a:buChar char="•"/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оставление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и ведение дорожной инвестиционной </a:t>
            </a:r>
            <a:endParaRPr lang="ru-RU" sz="11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algn="just">
              <a:spcBef>
                <a:spcPct val="0"/>
              </a:spcBef>
              <a:buClr>
                <a:srgbClr val="008A53"/>
              </a:buClr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карты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 проекту;</a:t>
            </a:r>
          </a:p>
          <a:p>
            <a:pPr marL="88900" lvl="1" indent="-88900" algn="just">
              <a:spcBef>
                <a:spcPct val="0"/>
              </a:spcBef>
              <a:buClr>
                <a:srgbClr val="008A53"/>
              </a:buClr>
              <a:buFont typeface="Arial" pitchFamily="34" charset="0"/>
              <a:buChar char="•"/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работка </a:t>
            </a: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рынка сбыта, наполнение контрактной базы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;</a:t>
            </a: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Двойная стрелка вверх/вниз 33"/>
          <p:cNvSpPr/>
          <p:nvPr/>
        </p:nvSpPr>
        <p:spPr>
          <a:xfrm>
            <a:off x="1259632" y="2348880"/>
            <a:ext cx="216024" cy="576064"/>
          </a:xfrm>
          <a:prstGeom prst="upDown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677967" y="401385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Штриховая стрелка вправо 35"/>
          <p:cNvSpPr/>
          <p:nvPr/>
        </p:nvSpPr>
        <p:spPr>
          <a:xfrm rot="20253676" flipH="1">
            <a:off x="2012087" y="3706196"/>
            <a:ext cx="2755164" cy="156937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Rectangle 33"/>
          <p:cNvSpPr>
            <a:spLocks noChangeArrowheads="1"/>
          </p:cNvSpPr>
          <p:nvPr/>
        </p:nvSpPr>
        <p:spPr bwMode="auto">
          <a:xfrm>
            <a:off x="5508104" y="5229200"/>
            <a:ext cx="1466850" cy="107950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</a:pP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едитор</a:t>
            </a:r>
          </a:p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[</a:t>
            </a:r>
            <a:r>
              <a:rPr lang="ru-RU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ложение до </a:t>
            </a: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0% </a:t>
            </a:r>
            <a:endParaRPr lang="en-US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0"/>
              </a:spcBef>
            </a:pPr>
            <a:r>
              <a:rPr lang="ru-RU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общей суммы проекта</a:t>
            </a:r>
            <a:r>
              <a:rPr lang="en-US" sz="13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]</a:t>
            </a: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Двойная стрелка вверх/вниз 38"/>
          <p:cNvSpPr/>
          <p:nvPr/>
        </p:nvSpPr>
        <p:spPr>
          <a:xfrm>
            <a:off x="5652120" y="3284984"/>
            <a:ext cx="288032" cy="1872208"/>
          </a:xfrm>
          <a:prstGeom prst="upDown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AutoShape 45"/>
          <p:cNvSpPr>
            <a:spLocks noChangeArrowheads="1"/>
          </p:cNvSpPr>
          <p:nvPr/>
        </p:nvSpPr>
        <p:spPr bwMode="auto">
          <a:xfrm rot="5400000">
            <a:off x="3671901" y="4833157"/>
            <a:ext cx="3168350" cy="360040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marL="193675" indent="-193675" algn="ctr">
              <a:lnSpc>
                <a:spcPct val="95000"/>
              </a:lnSpc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lnSpc>
                <a:spcPct val="95000"/>
              </a:lnSpc>
            </a:pPr>
            <a:r>
              <a:rPr lang="ru-RU" sz="11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2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2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едоставления обеспечения по кредиту</a:t>
            </a:r>
            <a:endParaRPr lang="en-US" sz="12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ctr">
              <a:lnSpc>
                <a:spcPct val="95000"/>
              </a:lnSpc>
            </a:pP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AutoShape 45"/>
          <p:cNvSpPr>
            <a:spLocks noChangeArrowheads="1"/>
          </p:cNvSpPr>
          <p:nvPr/>
        </p:nvSpPr>
        <p:spPr bwMode="auto">
          <a:xfrm rot="5400000">
            <a:off x="5436096" y="4005064"/>
            <a:ext cx="1800200" cy="504056"/>
          </a:xfrm>
          <a:prstGeom prst="roundRect">
            <a:avLst>
              <a:gd name="adj" fmla="val 16667"/>
            </a:avLst>
          </a:prstGeom>
          <a:noFill/>
          <a:ln w="25400">
            <a:noFill/>
            <a:prstDash val="dash"/>
            <a:round/>
            <a:headEnd/>
            <a:tailEnd/>
          </a:ln>
          <a:effectLst>
            <a:prstShdw prst="shdw17" dist="17961" dir="2700000">
              <a:srgbClr val="004324"/>
            </a:prstShdw>
          </a:effectLst>
        </p:spPr>
        <p:txBody>
          <a:bodyPr wrap="none" anchor="ctr"/>
          <a:lstStyle/>
          <a:p>
            <a:pPr marL="193675" indent="-193675">
              <a:lnSpc>
                <a:spcPct val="95000"/>
              </a:lnSpc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>
              <a:lnSpc>
                <a:spcPct val="95000"/>
              </a:lnSpc>
            </a:pP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5 </a:t>
            </a:r>
            <a:r>
              <a:rPr lang="ru-RU" sz="120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2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лучение кредита</a:t>
            </a:r>
            <a:endParaRPr lang="en-US" sz="120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>
              <a:lnSpc>
                <a:spcPct val="95000"/>
              </a:lnSpc>
            </a:pP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Rectangle 38"/>
          <p:cNvSpPr>
            <a:spLocks noChangeArrowheads="1"/>
          </p:cNvSpPr>
          <p:nvPr/>
        </p:nvSpPr>
        <p:spPr bwMode="auto">
          <a:xfrm>
            <a:off x="2267744" y="5157192"/>
            <a:ext cx="1754882" cy="1555750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sz="12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Залог имущественных прав  на объекты (впоследствии готовые объекты), создаваемые в рамках инвестиционного </a:t>
            </a:r>
            <a:r>
              <a:rPr lang="ru-RU" sz="12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роекта</a:t>
            </a:r>
            <a:endParaRPr lang="ru-RU" sz="12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3" name="Прямая со стрелкой 116"/>
          <p:cNvCxnSpPr>
            <a:cxnSpLocks noChangeShapeType="1"/>
          </p:cNvCxnSpPr>
          <p:nvPr/>
        </p:nvCxnSpPr>
        <p:spPr bwMode="auto">
          <a:xfrm>
            <a:off x="4211960" y="5373216"/>
            <a:ext cx="731196" cy="0"/>
          </a:xfrm>
          <a:prstGeom prst="straightConnector1">
            <a:avLst/>
          </a:prstGeom>
          <a:noFill/>
          <a:ln w="12700" algn="ctr">
            <a:solidFill>
              <a:srgbClr val="000000"/>
            </a:solidFill>
            <a:round/>
            <a:headEnd type="none" w="med" len="lg"/>
            <a:tailEnd type="triangle" w="med" len="lg"/>
          </a:ln>
        </p:spPr>
      </p:cxnSp>
      <p:sp>
        <p:nvSpPr>
          <p:cNvPr id="46" name="Rectangle 27"/>
          <p:cNvSpPr>
            <a:spLocks noChangeArrowheads="1"/>
          </p:cNvSpPr>
          <p:nvPr/>
        </p:nvSpPr>
        <p:spPr bwMode="auto">
          <a:xfrm>
            <a:off x="7147805" y="908720"/>
            <a:ext cx="1816683" cy="5544616"/>
          </a:xfrm>
          <a:prstGeom prst="rect">
            <a:avLst/>
          </a:prstGeom>
          <a:noFill/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ДАЛЬНЕЙШИЕ  действия</a:t>
            </a:r>
          </a:p>
          <a:p>
            <a:pPr algn="just">
              <a:lnSpc>
                <a:spcPct val="95000"/>
              </a:lnSpc>
              <a:buClrTx/>
              <a:buSzTx/>
            </a:pPr>
            <a:endParaRPr lang="ru-RU" sz="1100" b="1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еречисление средств за выполненные работы  Техзакзчику</a:t>
            </a:r>
          </a:p>
          <a:p>
            <a:pPr algn="just">
              <a:lnSpc>
                <a:spcPct val="95000"/>
              </a:lnSpc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сдача объектов в аренду Инициатору и получение арендной платы (Источником арендной платы будет являться выручка от эксплуатации построенных в рамках проекта объектов, эффективность использования которых отражается в финансовом плане проекта)</a:t>
            </a:r>
          </a:p>
          <a:p>
            <a:pPr marL="193675" indent="-193675" algn="just">
              <a:lnSpc>
                <a:spcPct val="95000"/>
              </a:lnSpc>
            </a:pPr>
            <a:r>
              <a:rPr lang="ru-RU" sz="1100" b="1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7а</a:t>
            </a:r>
            <a:r>
              <a:rPr lang="ru-RU" sz="110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– эксплуатация объектов Инициатором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b="1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– погашение кредита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b="1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 – выплаты для Инвестора (происходят только после </a:t>
            </a: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лного </a:t>
            </a:r>
            <a:r>
              <a:rPr lang="ru-RU" sz="1100" i="0" dirty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погашения кредита</a:t>
            </a:r>
            <a:r>
              <a:rPr lang="ru-RU" sz="1100" i="0" dirty="0" smtClean="0">
                <a:solidFill>
                  <a:srgbClr val="50AA1E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 smtClean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  <a:p>
            <a:pPr marL="193675" indent="-193675" algn="just">
              <a:lnSpc>
                <a:spcPct val="95000"/>
              </a:lnSpc>
              <a:buClrTx/>
              <a:buSzTx/>
            </a:pPr>
            <a:endParaRPr lang="ru-RU" sz="1100" i="0" dirty="0">
              <a:solidFill>
                <a:srgbClr val="50AA1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Штриховая стрелка вправо 46"/>
          <p:cNvSpPr/>
          <p:nvPr/>
        </p:nvSpPr>
        <p:spPr>
          <a:xfrm rot="10800000" flipH="1">
            <a:off x="6300192" y="2708920"/>
            <a:ext cx="792088" cy="216024"/>
          </a:xfrm>
          <a:prstGeom prst="stripedRightArrow">
            <a:avLst/>
          </a:prstGeom>
          <a:solidFill>
            <a:srgbClr val="418A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yGlM7QSEGrZVDKm8gx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QJY_LyIUCLo5ORYbyZ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xEVvIfQUOrRTnfQGOVQ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hSJkj6Lk2X37.s_66P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g5hH19FUKl4IKs_WAz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h50PZvbU2ajD2cS3SH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7mQBIXi0aSxn1EAy__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OKc0Gpdk6UbKMGsn3B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hoPc8v1U2mm8eYWL5M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FK.lsvEmNjwBZy_vd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LPaDBlTkO1ws54N1Fx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0kaGdUvE.mEfAn0_5f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xGY.oG0O32cHklxLv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2w3KW.CUy6xiUzY51K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DOB6CgJEWU0mb_UndW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ll82uMk0uveuOmlutX0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nlUT7plUGhiL6RMy0g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vcetUjMUCaMTo9xkWk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X.snqLTUOXQDcHjMtp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K8nqnJuUyeJSEantDm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nsrrKl7kiaDqkogTkb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wZL3G6_02kYy..FMthN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4qerZQgE6rhUEjVr9s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ZsVd9NLEmkjCW4mF1d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xhPHS2kq_V1YnzP18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Zr97YgbkSFD5WLNOwf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qpyp48q0.EUVutfIe_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gn7jfnhEatUZjfU3us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wY7pfe2kWVmW1lAtP1CQ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99</TotalTime>
  <Words>1959</Words>
  <Application>Microsoft Office PowerPoint</Application>
  <PresentationFormat>Экран (4:3)</PresentationFormat>
  <Paragraphs>534</Paragraphs>
  <Slides>19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21" baseType="lpstr">
      <vt:lpstr>1_Тема Office</vt:lpstr>
      <vt:lpstr>2_Тема Office</vt:lpstr>
      <vt:lpstr>  Инструменты реализации долгосрочных инвестиционных проектов на базе регламента  «Инвестиционные проекты с гос. поддержкой и гос. участием»  на основе проектного финансирования в субъектах РФ  </vt:lpstr>
      <vt:lpstr>Презентация PowerPoint</vt:lpstr>
      <vt:lpstr>Презентация PowerPoint</vt:lpstr>
      <vt:lpstr>Координация основных участников инвестпроцеcса </vt:lpstr>
      <vt:lpstr>Презентация PowerPoint</vt:lpstr>
      <vt:lpstr>Особые условия финансирования </vt:lpstr>
      <vt:lpstr>             Какие проекты могут быть заявлены на Конкурс</vt:lpstr>
      <vt:lpstr>7</vt:lpstr>
      <vt:lpstr>Схема финансирования инвестиционного проекта </vt:lpstr>
      <vt:lpstr>    Преимущества реализации проектов «с нуля» в рамках Конкурса</vt:lpstr>
      <vt:lpstr>          Процедура рассмотрение инвестиционных проектов в рамках  Конкурса </vt:lpstr>
      <vt:lpstr> Процедура рассмотрения региональных инвестиционных проектов по «Схеме взаимодействия при реализации инвестиционных проектов с гос. поддержкой / гос. участием», утвержденной № __ Сбербанк России для реализации в соответствии с Постановлением Правительства № 1044 от 11.10.2014</vt:lpstr>
      <vt:lpstr>Презентация PowerPoint</vt:lpstr>
      <vt:lpstr>12</vt:lpstr>
      <vt:lpstr>13</vt:lpstr>
      <vt:lpstr>14</vt:lpstr>
      <vt:lpstr>Принципы формирования Попечительского Совета</vt:lpstr>
      <vt:lpstr>Текущие результаты работы Конкурса</vt:lpstr>
      <vt:lpstr>Презентация PowerPoint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Expedition 1</cp:lastModifiedBy>
  <cp:revision>297</cp:revision>
  <cp:lastPrinted>2015-03-03T10:46:27Z</cp:lastPrinted>
  <dcterms:created xsi:type="dcterms:W3CDTF">2014-11-17T08:55:10Z</dcterms:created>
  <dcterms:modified xsi:type="dcterms:W3CDTF">2015-05-12T04:45:41Z</dcterms:modified>
</cp:coreProperties>
</file>